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media/image50.jpg" ContentType="image/jp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1"/>
  </p:notesMasterIdLst>
  <p:handoutMasterIdLst>
    <p:handoutMasterId r:id="rId22"/>
  </p:handoutMasterIdLst>
  <p:sldIdLst>
    <p:sldId id="259" r:id="rId5"/>
    <p:sldId id="393" r:id="rId6"/>
    <p:sldId id="258" r:id="rId7"/>
    <p:sldId id="394" r:id="rId8"/>
    <p:sldId id="350" r:id="rId9"/>
    <p:sldId id="372" r:id="rId10"/>
    <p:sldId id="335" r:id="rId11"/>
    <p:sldId id="390" r:id="rId12"/>
    <p:sldId id="384" r:id="rId13"/>
    <p:sldId id="368" r:id="rId14"/>
    <p:sldId id="396" r:id="rId15"/>
    <p:sldId id="389" r:id="rId16"/>
    <p:sldId id="391" r:id="rId17"/>
    <p:sldId id="397" r:id="rId18"/>
    <p:sldId id="395" r:id="rId19"/>
    <p:sldId id="386" r:id="rId20"/>
  </p:sldIdLst>
  <p:sldSz cx="12192000" cy="6858000"/>
  <p:notesSz cx="6858000" cy="9144000"/>
  <p:custDataLst>
    <p:tags r:id="rId23"/>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3246"/>
    <a:srgbClr val="EAD6D9"/>
    <a:srgbClr val="D4EFF8"/>
    <a:srgbClr val="D2EFFA"/>
    <a:srgbClr val="E4F5FC"/>
    <a:srgbClr val="1179A6"/>
    <a:srgbClr val="90397B"/>
    <a:srgbClr val="93CB81"/>
    <a:srgbClr val="F3DE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67" autoAdjust="0"/>
    <p:restoredTop sz="87957" autoAdjust="0"/>
  </p:normalViewPr>
  <p:slideViewPr>
    <p:cSldViewPr snapToGrid="0">
      <p:cViewPr varScale="1">
        <p:scale>
          <a:sx n="72" d="100"/>
          <a:sy n="72" d="100"/>
        </p:scale>
        <p:origin x="931"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B04B9EBC-5D97-42BF-B6EB-8E1B9C43771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BAE2037F-A1E2-4CCA-8629-3BDB2B3CEB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403F91-E352-4BC0-865E-00C4B778E8F4}" type="datetimeFigureOut">
              <a:rPr lang="fi-FI" smtClean="0"/>
              <a:t>26.1.2026</a:t>
            </a:fld>
            <a:endParaRPr lang="fi-FI"/>
          </a:p>
        </p:txBody>
      </p:sp>
      <p:sp>
        <p:nvSpPr>
          <p:cNvPr id="4" name="Alatunnisteen paikkamerkki 3">
            <a:extLst>
              <a:ext uri="{FF2B5EF4-FFF2-40B4-BE49-F238E27FC236}">
                <a16:creationId xmlns:a16="http://schemas.microsoft.com/office/drawing/2014/main" id="{314A672F-4E2F-4FD9-84E6-5C27D7492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71937CE8-A32E-40B1-B45D-D4F2F4E5469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A7C6AB-2EC7-448B-8841-68F14F13640A}" type="slidenum">
              <a:rPr lang="fi-FI" smtClean="0"/>
              <a:t>‹#›</a:t>
            </a:fld>
            <a:endParaRPr lang="fi-FI"/>
          </a:p>
        </p:txBody>
      </p:sp>
    </p:spTree>
    <p:extLst>
      <p:ext uri="{BB962C8B-B14F-4D97-AF65-F5344CB8AC3E}">
        <p14:creationId xmlns:p14="http://schemas.microsoft.com/office/powerpoint/2010/main" val="3278985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B81401-98B2-4A2C-809B-B877EE2C7168}" type="datetimeFigureOut">
              <a:rPr lang="fi-FI" smtClean="0"/>
              <a:t>26.1.2026</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B9FF8-BAB1-4496-B899-A3D3A047A0D5}" type="slidenum">
              <a:rPr lang="fi-FI" smtClean="0"/>
              <a:t>‹#›</a:t>
            </a:fld>
            <a:endParaRPr lang="fi-FI"/>
          </a:p>
        </p:txBody>
      </p:sp>
    </p:spTree>
    <p:extLst>
      <p:ext uri="{BB962C8B-B14F-4D97-AF65-F5344CB8AC3E}">
        <p14:creationId xmlns:p14="http://schemas.microsoft.com/office/powerpoint/2010/main" val="3379804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4</a:t>
            </a:fld>
            <a:endParaRPr lang="fi-FI"/>
          </a:p>
        </p:txBody>
      </p:sp>
    </p:spTree>
    <p:extLst>
      <p:ext uri="{BB962C8B-B14F-4D97-AF65-F5344CB8AC3E}">
        <p14:creationId xmlns:p14="http://schemas.microsoft.com/office/powerpoint/2010/main" val="4209367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 typeface="Arial" panose="020B0604020202020204" pitchFamily="34" charset="0"/>
              <a:buChar char="•"/>
            </a:pPr>
            <a:r>
              <a:rPr lang="en-US" dirty="0" err="1"/>
              <a:t>Yksittäiset</a:t>
            </a:r>
            <a:r>
              <a:rPr lang="en-US" dirty="0"/>
              <a:t> </a:t>
            </a:r>
            <a:r>
              <a:rPr lang="en-US" dirty="0" err="1"/>
              <a:t>hankkeemme</a:t>
            </a:r>
            <a:r>
              <a:rPr lang="en-US" dirty="0"/>
              <a:t> </a:t>
            </a:r>
            <a:r>
              <a:rPr lang="en-US" dirty="0" err="1"/>
              <a:t>maailmalta</a:t>
            </a:r>
            <a:r>
              <a:rPr lang="en-US" dirty="0"/>
              <a:t> on </a:t>
            </a:r>
            <a:r>
              <a:rPr lang="en-US" dirty="0" err="1"/>
              <a:t>jaettu</a:t>
            </a:r>
            <a:r>
              <a:rPr lang="en-US" dirty="0"/>
              <a:t> </a:t>
            </a:r>
            <a:r>
              <a:rPr lang="en-US" dirty="0" err="1"/>
              <a:t>kuuteen</a:t>
            </a:r>
            <a:r>
              <a:rPr lang="en-US" dirty="0"/>
              <a:t> </a:t>
            </a:r>
            <a:r>
              <a:rPr lang="en-US" dirty="0" err="1"/>
              <a:t>eri</a:t>
            </a:r>
            <a:r>
              <a:rPr lang="en-US" dirty="0"/>
              <a:t> </a:t>
            </a:r>
            <a:r>
              <a:rPr lang="en-US" dirty="0" err="1"/>
              <a:t>teemakoriin</a:t>
            </a:r>
            <a:r>
              <a:rPr lang="en-US" dirty="0"/>
              <a:t>.</a:t>
            </a:r>
          </a:p>
          <a:p>
            <a:pPr marL="171450" indent="-171450">
              <a:buFont typeface="Arial" panose="020B0604020202020204" pitchFamily="34" charset="0"/>
              <a:buChar char="•"/>
            </a:pPr>
            <a:endParaRPr lang="fi-FI" dirty="0">
              <a:latin typeface="Arial"/>
              <a:cs typeface="Arial"/>
            </a:endParaRPr>
          </a:p>
          <a:p>
            <a:pPr marL="171450" indent="-171450">
              <a:buFont typeface="Arial" panose="020B0604020202020204" pitchFamily="34" charset="0"/>
              <a:buChar char="•"/>
            </a:pPr>
            <a:r>
              <a:rPr lang="fi-FI" dirty="0">
                <a:latin typeface="Arial"/>
                <a:cs typeface="Arial"/>
              </a:rPr>
              <a:t>Jokainen hanke on edelleen tärkeä ja niiden eteen tehdään työtä</a:t>
            </a:r>
            <a:r>
              <a:rPr lang="en-US" dirty="0"/>
              <a: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fi-FI" dirty="0">
                <a:latin typeface="Arial"/>
                <a:cs typeface="Arial"/>
              </a:rPr>
              <a:t>Koreissa on myös mukana työntekijöitä ja asiantuntijoita kotimaasta ja maailmalta.</a:t>
            </a:r>
          </a:p>
          <a:p>
            <a:pPr marL="171450" indent="-171450">
              <a:buFont typeface="Arial" panose="020B0604020202020204" pitchFamily="34" charset="0"/>
              <a:buChar char="•"/>
            </a:pPr>
            <a:endParaRPr lang="fi-FI" dirty="0">
              <a:latin typeface="Arial"/>
              <a:cs typeface="Arial"/>
            </a:endParaRPr>
          </a:p>
          <a:p>
            <a:pPr marL="171450" indent="-171450">
              <a:buFont typeface="Arial" panose="020B0604020202020204" pitchFamily="34" charset="0"/>
              <a:buChar char="•"/>
            </a:pPr>
            <a:r>
              <a:rPr lang="fi-FI" dirty="0"/>
              <a:t>Uudistuksen myötä saatte säännöllisesti monipuolisempaa materiaalia, jonka avulla lähetyksen sisältöjä on helppo pitää esillä.</a:t>
            </a:r>
          </a:p>
          <a:p>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5</a:t>
            </a:fld>
            <a:endParaRPr lang="fi-FI"/>
          </a:p>
        </p:txBody>
      </p:sp>
    </p:spTree>
    <p:extLst>
      <p:ext uri="{BB962C8B-B14F-4D97-AF65-F5344CB8AC3E}">
        <p14:creationId xmlns:p14="http://schemas.microsoft.com/office/powerpoint/2010/main" val="2739461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7</a:t>
            </a:fld>
            <a:endParaRPr lang="fi-FI"/>
          </a:p>
        </p:txBody>
      </p:sp>
    </p:spTree>
    <p:extLst>
      <p:ext uri="{BB962C8B-B14F-4D97-AF65-F5344CB8AC3E}">
        <p14:creationId xmlns:p14="http://schemas.microsoft.com/office/powerpoint/2010/main" val="3506767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9</a:t>
            </a:fld>
            <a:endParaRPr lang="fi-FI"/>
          </a:p>
        </p:txBody>
      </p:sp>
    </p:spTree>
    <p:extLst>
      <p:ext uri="{BB962C8B-B14F-4D97-AF65-F5344CB8AC3E}">
        <p14:creationId xmlns:p14="http://schemas.microsoft.com/office/powerpoint/2010/main" val="2020196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0</a:t>
            </a:fld>
            <a:endParaRPr lang="fi-FI"/>
          </a:p>
        </p:txBody>
      </p:sp>
    </p:spTree>
    <p:extLst>
      <p:ext uri="{BB962C8B-B14F-4D97-AF65-F5344CB8AC3E}">
        <p14:creationId xmlns:p14="http://schemas.microsoft.com/office/powerpoint/2010/main" val="1646027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rtl="0" fontAlgn="base"/>
            <a:endParaRPr lang="fi-FI" sz="1200" b="0" i="0" kern="1200" dirty="0">
              <a:solidFill>
                <a:schemeClr val="tx1"/>
              </a:solidFill>
              <a:effectLst/>
              <a:latin typeface="+mn-lt"/>
              <a:ea typeface="+mn-ea"/>
              <a:cs typeface="+mn-cs"/>
            </a:endParaRPr>
          </a:p>
          <a:p>
            <a:pPr rtl="0" fontAlgn="base"/>
            <a:r>
              <a:rPr lang="fi-FI" sz="1200" b="0" i="1" kern="1200" dirty="0">
                <a:solidFill>
                  <a:schemeClr val="tx1"/>
                </a:solidFill>
                <a:effectLst/>
                <a:latin typeface="+mn-lt"/>
                <a:ea typeface="+mn-ea"/>
                <a:cs typeface="+mn-cs"/>
              </a:rPr>
              <a:t>Yhteinen lähetystehtävämme</a:t>
            </a:r>
            <a:r>
              <a:rPr lang="fi-FI" sz="1200" b="0" i="0" kern="1200" dirty="0">
                <a:solidFill>
                  <a:schemeClr val="tx1"/>
                </a:solidFill>
                <a:effectLst/>
                <a:latin typeface="+mn-lt"/>
                <a:ea typeface="+mn-ea"/>
                <a:cs typeface="+mn-cs"/>
              </a:rPr>
              <a:t> </a:t>
            </a:r>
          </a:p>
          <a:p>
            <a:pPr rtl="0" fontAlgn="base"/>
            <a:r>
              <a:rPr lang="fi-FI" sz="1200" b="0" i="0" kern="1200" dirty="0">
                <a:solidFill>
                  <a:schemeClr val="tx1"/>
                </a:solidFill>
                <a:effectLst/>
                <a:latin typeface="+mn-lt"/>
                <a:ea typeface="+mn-ea"/>
                <a:cs typeface="+mn-cs"/>
              </a:rPr>
              <a:t>Kristus kutsuu seuraajiaan tekemään kaikista kansoista hänen oppilaitaan (Matt. 28:18–20). Tämä on yksilöiden tavoittamisen lisäksi myös seurakuntien rakentamista: seurakunta on yhteisö, jossa kristityt voivat kasvaa uskossa ja Kristuksen seuraamisessa. Välittäessään evankeliumia ja toteuttaessaan diakoniaa ja oikeudenmukaisuutta kirkko ja kristityt ovat maailman valo ja suola. Kirkkojen ja seurakuntien vahvistaminen on hengellinen kutsumus, jotta ne voivat välittää Jumalan rakkautta ja toivoa maailmassa. </a:t>
            </a:r>
            <a:br>
              <a:rPr lang="fi-FI" sz="1200" b="0" i="0" kern="1200" dirty="0">
                <a:solidFill>
                  <a:schemeClr val="tx1"/>
                </a:solidFill>
                <a:effectLst/>
                <a:latin typeface="+mn-lt"/>
                <a:ea typeface="+mn-ea"/>
                <a:cs typeface="+mn-cs"/>
              </a:rPr>
            </a:br>
            <a:endParaRPr lang="fi-FI" sz="1200" b="0" i="0" kern="1200" dirty="0">
              <a:solidFill>
                <a:schemeClr val="tx1"/>
              </a:solidFill>
              <a:effectLst/>
              <a:latin typeface="+mn-lt"/>
              <a:ea typeface="+mn-ea"/>
              <a:cs typeface="+mn-cs"/>
            </a:endParaRPr>
          </a:p>
          <a:p>
            <a:pPr rtl="0" fontAlgn="base"/>
            <a:r>
              <a:rPr lang="fi-FI" sz="1200" b="0" i="1" kern="1200" dirty="0">
                <a:solidFill>
                  <a:schemeClr val="tx1"/>
                </a:solidFill>
                <a:effectLst/>
                <a:latin typeface="+mn-lt"/>
                <a:ea typeface="+mn-ea"/>
                <a:cs typeface="+mn-cs"/>
              </a:rPr>
              <a:t>Kirkko Kristuksen ruumiina</a:t>
            </a:r>
            <a:r>
              <a:rPr lang="fi-FI" sz="1200" b="0" i="0" kern="1200" dirty="0">
                <a:solidFill>
                  <a:schemeClr val="tx1"/>
                </a:solidFill>
                <a:effectLst/>
                <a:latin typeface="+mn-lt"/>
                <a:ea typeface="+mn-ea"/>
                <a:cs typeface="+mn-cs"/>
              </a:rPr>
              <a:t> </a:t>
            </a:r>
          </a:p>
          <a:p>
            <a:pPr rtl="0" fontAlgn="base"/>
            <a:r>
              <a:rPr lang="fi-FI" sz="1200" b="0" i="0" kern="1200" dirty="0">
                <a:solidFill>
                  <a:schemeClr val="tx1"/>
                </a:solidFill>
                <a:effectLst/>
                <a:latin typeface="+mn-lt"/>
                <a:ea typeface="+mn-ea"/>
                <a:cs typeface="+mn-cs"/>
              </a:rPr>
              <a:t>Kirkko on Kristuksen ruumis -elävä organismi, joka kasvaa, uudistuu ja on vuorovaikutuksessa ympäristönsä kanssa. Kirkon perustaja ja ylläpitäjä on Jumala. Kristus itse on sen pää, ja Pyhä Henki kokoaa kirkon ja tekee sen pyhäksi. Tämä ruumis ei ole kuitenkaan täydellinen, vaan se kantaa haavoja ja kipuja, kuten Kristus kantoi ristinnaulitsemisen jälkiä omassa ruumiissaan. Tämä muistuttaa, että kirkko ei ole virheetön, vaan tarvitsee jatkuvaa parantumista, uudistumista ja sovintoa. Haavoittuvuus tekee kirkosta aidosti inhimillisen ja riippuvaisen Jumalan armosta. Kristuksen ruumis ei ole sisäänpäin kääntynyt, vaan se on jatkuvasti liikkeessä.  Se ojentaa kädet maailmaan, kantaa toivoa ja toimii oikeudenmukaisuuden puolesta. Jokainen jäsen on tärkeä, ja jokainen on osa tätä tehtävää. </a:t>
            </a:r>
            <a:br>
              <a:rPr lang="fi-FI" sz="1200" b="0" i="0" kern="1200" dirty="0">
                <a:solidFill>
                  <a:schemeClr val="tx1"/>
                </a:solidFill>
                <a:effectLst/>
                <a:latin typeface="+mn-lt"/>
                <a:ea typeface="+mn-ea"/>
                <a:cs typeface="+mn-cs"/>
              </a:rPr>
            </a:br>
            <a:endParaRPr lang="fi-FI" sz="1200" b="0" i="0" kern="1200" dirty="0">
              <a:solidFill>
                <a:schemeClr val="tx1"/>
              </a:solidFill>
              <a:effectLst/>
              <a:latin typeface="+mn-lt"/>
              <a:ea typeface="+mn-ea"/>
              <a:cs typeface="+mn-cs"/>
            </a:endParaRPr>
          </a:p>
          <a:p>
            <a:pPr rtl="0" fontAlgn="base"/>
            <a:r>
              <a:rPr lang="fi-FI" sz="1200" b="0" i="1" kern="1200" dirty="0">
                <a:solidFill>
                  <a:schemeClr val="tx1"/>
                </a:solidFill>
                <a:effectLst/>
                <a:latin typeface="+mn-lt"/>
                <a:ea typeface="+mn-ea"/>
                <a:cs typeface="+mn-cs"/>
              </a:rPr>
              <a:t>Kirkon tehtävä</a:t>
            </a:r>
            <a:r>
              <a:rPr lang="fi-FI" sz="1200" b="0" i="0" kern="1200" dirty="0">
                <a:solidFill>
                  <a:schemeClr val="tx1"/>
                </a:solidFill>
                <a:effectLst/>
                <a:latin typeface="+mn-lt"/>
                <a:ea typeface="+mn-ea"/>
                <a:cs typeface="+mn-cs"/>
              </a:rPr>
              <a:t> </a:t>
            </a:r>
          </a:p>
          <a:p>
            <a:pPr rtl="0" fontAlgn="base"/>
            <a:r>
              <a:rPr lang="fi-FI" sz="1200" b="0" i="0" kern="1200" dirty="0">
                <a:solidFill>
                  <a:schemeClr val="tx1"/>
                </a:solidFill>
                <a:effectLst/>
                <a:latin typeface="+mn-lt"/>
                <a:ea typeface="+mn-ea"/>
                <a:cs typeface="+mn-cs"/>
              </a:rPr>
              <a:t>Kirkon ydintehtävä on julistaa Kristusta ja toimittaa sakramentit. Näiden kautta Jumala lahjoittaa syntien anteeksiantamuksen ja vahvistaa uskoa. Hän on kutsunut kirkon huolehtimaan ihmisten hengellisestä hyvinvoinnista, rukoilemaan heidän puolestaan ja tukemaan heitä kristillisessä elämässä. Hyvä sanoma Kristuksesta pitää sisällään sekä sanallisen todistuksen että Jumalan rakkauden ja armon tulemisen todeksi tekojen kautta, eli lähetystyön ja diakonian. Seurakunnissa välitetään sanomaa uskosta, toivosta ja rakkaudesta. Tämä sanoma kutsuu ihmisiä sovintoon Jumalan kanssa, seuraamaan Kristusta, uudistumaan ja kasvamaan uskossa.   </a:t>
            </a:r>
          </a:p>
          <a:p>
            <a:pPr rtl="0" fontAlgn="base"/>
            <a:r>
              <a:rPr lang="fi-FI" sz="1200" b="0" i="0" kern="1200" dirty="0">
                <a:solidFill>
                  <a:schemeClr val="tx1"/>
                </a:solidFill>
                <a:effectLst/>
                <a:latin typeface="+mn-lt"/>
                <a:ea typeface="+mn-ea"/>
                <a:cs typeface="+mn-cs"/>
              </a:rPr>
              <a:t>Kirkko toimii Pyhän Hengen voiman varassa. Seurakunnissa ihmiset voivat löytää omat armolahjansa ja käyttää niitä yhteiseksi hyväksi. Tämä tekee kirkosta elävän ja dynaamisen yhteisön. Pyhä Henki kasvattaa kirkkoa ja seurakuntia kohti aikuisuutta ja kypsyyttä (</a:t>
            </a:r>
            <a:r>
              <a:rPr lang="fi-FI" sz="1200" b="0" i="0" kern="1200" dirty="0" err="1">
                <a:solidFill>
                  <a:schemeClr val="tx1"/>
                </a:solidFill>
                <a:effectLst/>
                <a:latin typeface="+mn-lt"/>
                <a:ea typeface="+mn-ea"/>
                <a:cs typeface="+mn-cs"/>
              </a:rPr>
              <a:t>Ef</a:t>
            </a:r>
            <a:r>
              <a:rPr lang="fi-FI" sz="1200" b="0" i="0" kern="1200" dirty="0">
                <a:solidFill>
                  <a:schemeClr val="tx1"/>
                </a:solidFill>
                <a:effectLst/>
                <a:latin typeface="+mn-lt"/>
                <a:ea typeface="+mn-ea"/>
                <a:cs typeface="+mn-cs"/>
              </a:rPr>
              <a:t> 4:11-16). Vahva kirkko on sisäisesti hyvinvoiva. </a:t>
            </a:r>
            <a:br>
              <a:rPr lang="fi-FI" sz="1200" b="0" i="0" kern="1200" dirty="0">
                <a:solidFill>
                  <a:schemeClr val="tx1"/>
                </a:solidFill>
                <a:effectLst/>
                <a:latin typeface="+mn-lt"/>
                <a:ea typeface="+mn-ea"/>
                <a:cs typeface="+mn-cs"/>
              </a:rPr>
            </a:br>
            <a:endParaRPr lang="fi-FI" sz="1200" b="0" i="0" kern="1200" dirty="0">
              <a:solidFill>
                <a:schemeClr val="tx1"/>
              </a:solidFill>
              <a:effectLst/>
              <a:latin typeface="+mn-lt"/>
              <a:ea typeface="+mn-ea"/>
              <a:cs typeface="+mn-cs"/>
            </a:endParaRPr>
          </a:p>
          <a:p>
            <a:pPr rtl="0" fontAlgn="base"/>
            <a:r>
              <a:rPr lang="fi-FI" sz="1200" b="0" i="1" kern="1200" dirty="0">
                <a:solidFill>
                  <a:schemeClr val="tx1"/>
                </a:solidFill>
                <a:effectLst/>
                <a:latin typeface="+mn-lt"/>
                <a:ea typeface="+mn-ea"/>
                <a:cs typeface="+mn-cs"/>
              </a:rPr>
              <a:t>Kirkon vahvuus ja vaikuttavuus</a:t>
            </a:r>
            <a:r>
              <a:rPr lang="fi-FI" sz="1200" b="0" i="0" kern="1200" dirty="0">
                <a:solidFill>
                  <a:schemeClr val="tx1"/>
                </a:solidFill>
                <a:effectLst/>
                <a:latin typeface="+mn-lt"/>
                <a:ea typeface="+mn-ea"/>
                <a:cs typeface="+mn-cs"/>
              </a:rPr>
              <a:t> </a:t>
            </a:r>
          </a:p>
          <a:p>
            <a:pPr rtl="0" fontAlgn="base"/>
            <a:r>
              <a:rPr lang="fi-FI" sz="1200" b="0" i="0" kern="1200" dirty="0">
                <a:solidFill>
                  <a:schemeClr val="tx1"/>
                </a:solidFill>
                <a:effectLst/>
                <a:latin typeface="+mn-lt"/>
                <a:ea typeface="+mn-ea"/>
                <a:cs typeface="+mn-cs"/>
              </a:rPr>
              <a:t>Kirkon vahvuus ja vaikuttavuus ei perustu ensisijaisesti taloudellisiin resursseihin tai jäsenmäärään, vaan sille, että se pysyy uskollisena evankeliumille ja hoitaa sakramentit oikein. Kirkon vahvuus nousee Jeesuksen omasta määritelmästä, jonka tunnemme rakkauden kaksoiskäskynä: lähimmäisen rakastaminen ja hänen hyvänsä etsiminen on vaikuttavan kirkon tärkein tapa toimia.  Kirkko vahvistuu, kun se toteuttaa tehtäväänsä maailmassa: vie evankeliumia eteenpäin ja toimii toivon ja oikeudenmukaisuuden puolesta. Kirkko on vahva, kun se tunnustaa oman heikkoutensa ja turvautuu Kristukseen. Me voimme vahvistaa kirkkoa rukoilemalla, osallistumalla jumalanpalveluksiin ja muuhun toimintaan, luomalla tilaa kohtaamiselle, kuuntelemiselle ja keskinäiselle tuelle. Voimme vahvistaa kirkkoa palvelemalla lähimmäisiämme diakonian ja vapaaehtoistyön kautta ja arjessa auttamalla.   </a:t>
            </a:r>
          </a:p>
          <a:p>
            <a:pPr rtl="0" fontAlgn="base"/>
            <a:r>
              <a:rPr lang="fi-FI" sz="1200" b="0" i="0" kern="1200" dirty="0">
                <a:solidFill>
                  <a:schemeClr val="tx1"/>
                </a:solidFill>
                <a:effectLst/>
                <a:latin typeface="+mn-lt"/>
                <a:ea typeface="+mn-ea"/>
                <a:cs typeface="+mn-cs"/>
              </a:rPr>
              <a:t> </a:t>
            </a:r>
          </a:p>
          <a:p>
            <a:pPr rtl="0" fontAlgn="base"/>
            <a:r>
              <a:rPr lang="fi-FI" sz="1200" b="0" i="0" kern="1200" dirty="0">
                <a:solidFill>
                  <a:schemeClr val="tx1"/>
                </a:solidFill>
                <a:effectLst/>
                <a:latin typeface="+mn-lt"/>
                <a:ea typeface="+mn-ea"/>
                <a:cs typeface="+mn-cs"/>
              </a:rPr>
              <a:t> </a:t>
            </a:r>
          </a:p>
          <a:p>
            <a:pPr rtl="0" fontAlgn="base"/>
            <a:endParaRPr lang="fi-FI" sz="1200" b="0" i="0" kern="1200" dirty="0">
              <a:solidFill>
                <a:schemeClr val="tx1"/>
              </a:solidFill>
              <a:effectLst/>
              <a:latin typeface="+mn-lt"/>
              <a:ea typeface="+mn-ea"/>
              <a:cs typeface="+mn-cs"/>
            </a:endParaRPr>
          </a:p>
        </p:txBody>
      </p:sp>
      <p:sp>
        <p:nvSpPr>
          <p:cNvPr id="4" name="Dian numeron paikkamerkki 3"/>
          <p:cNvSpPr>
            <a:spLocks noGrp="1"/>
          </p:cNvSpPr>
          <p:nvPr>
            <p:ph type="sldNum" sz="quarter" idx="5"/>
          </p:nvPr>
        </p:nvSpPr>
        <p:spPr/>
        <p:txBody>
          <a:bodyPr/>
          <a:lstStyle/>
          <a:p>
            <a:fld id="{48EB9FF8-BAB1-4496-B899-A3D3A047A0D5}" type="slidenum">
              <a:rPr lang="fi-FI" smtClean="0"/>
              <a:t>12</a:t>
            </a:fld>
            <a:endParaRPr lang="fi-FI"/>
          </a:p>
        </p:txBody>
      </p:sp>
    </p:spTree>
    <p:extLst>
      <p:ext uri="{BB962C8B-B14F-4D97-AF65-F5344CB8AC3E}">
        <p14:creationId xmlns:p14="http://schemas.microsoft.com/office/powerpoint/2010/main" val="4255208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4</a:t>
            </a:fld>
            <a:endParaRPr lang="fi-FI"/>
          </a:p>
        </p:txBody>
      </p:sp>
    </p:spTree>
    <p:extLst>
      <p:ext uri="{BB962C8B-B14F-4D97-AF65-F5344CB8AC3E}">
        <p14:creationId xmlns:p14="http://schemas.microsoft.com/office/powerpoint/2010/main" val="787518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5.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7.jpe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9.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31.jpe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32.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32.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3.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3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4.jpe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35.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36.jpe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36.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37.jpe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38.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38.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39.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40.jpe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1.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2.jpe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43.jpe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44.jpe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45.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46.jpe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47.jpe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tsikkodia_1">
    <p:spTree>
      <p:nvGrpSpPr>
        <p:cNvPr id="1" name=""/>
        <p:cNvGrpSpPr/>
        <p:nvPr/>
      </p:nvGrpSpPr>
      <p:grpSpPr>
        <a:xfrm>
          <a:off x="0" y="0"/>
          <a:ext cx="0" cy="0"/>
          <a:chOff x="0" y="0"/>
          <a:chExt cx="0" cy="0"/>
        </a:xfrm>
      </p:grpSpPr>
      <p:pic>
        <p:nvPicPr>
          <p:cNvPr id="2" name="Kuva 1" descr="Kuva, joka sisältää kohteen pilvi, taivas, piha-, puu&#10;&#10;Kuvaus luotu automaattisesti">
            <a:extLst>
              <a:ext uri="{FF2B5EF4-FFF2-40B4-BE49-F238E27FC236}">
                <a16:creationId xmlns:a16="http://schemas.microsoft.com/office/drawing/2014/main" id="{1C38469F-DA15-FA5E-5C49-1E1BF8EA3739}"/>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l="1119" r="746"/>
          <a:stretch/>
        </p:blipFill>
        <p:spPr>
          <a:xfrm>
            <a:off x="-264001" y="-140208"/>
            <a:ext cx="12456000" cy="6998208"/>
          </a:xfrm>
          <a:prstGeom prst="rect">
            <a:avLst/>
          </a:prstGeom>
        </p:spPr>
      </p:pic>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7630244" y="3670234"/>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hasCustomPrompt="1"/>
          </p:nvPr>
        </p:nvSpPr>
        <p:spPr>
          <a:xfrm>
            <a:off x="7046258" y="1328057"/>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Lisää otsikko napsauttamalla</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Kuva 3" descr="Kuva, joka sisältää kohteen symboli, teksti, logo, Fontti&#10;&#10;Kuvaus luotu automaattisesti">
            <a:extLst>
              <a:ext uri="{FF2B5EF4-FFF2-40B4-BE49-F238E27FC236}">
                <a16:creationId xmlns:a16="http://schemas.microsoft.com/office/drawing/2014/main" id="{A626C848-60CF-8E9C-CBD4-11A07E231120}"/>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471575" y="4831455"/>
            <a:ext cx="2641751" cy="1867714"/>
          </a:xfrm>
          <a:prstGeom prst="rect">
            <a:avLst/>
          </a:prstGeom>
        </p:spPr>
      </p:pic>
    </p:spTree>
    <p:extLst>
      <p:ext uri="{BB962C8B-B14F-4D97-AF65-F5344CB8AC3E}">
        <p14:creationId xmlns:p14="http://schemas.microsoft.com/office/powerpoint/2010/main" val="1110163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2_Otsikkodia_6">
    <p:spTree>
      <p:nvGrpSpPr>
        <p:cNvPr id="1" name=""/>
        <p:cNvGrpSpPr/>
        <p:nvPr/>
      </p:nvGrpSpPr>
      <p:grpSpPr>
        <a:xfrm>
          <a:off x="0" y="0"/>
          <a:ext cx="0" cy="0"/>
          <a:chOff x="0" y="0"/>
          <a:chExt cx="0" cy="0"/>
        </a:xfrm>
      </p:grpSpPr>
      <p:pic>
        <p:nvPicPr>
          <p:cNvPr id="5" name="Kuva 4" descr="Kuva, joka sisältää kohteen henkilö, Ihmisen kasvot, vaate, piha-&#10;&#10;Tekoälyn generoima sisältö voi olla virheellistä.">
            <a:extLst>
              <a:ext uri="{FF2B5EF4-FFF2-40B4-BE49-F238E27FC236}">
                <a16:creationId xmlns:a16="http://schemas.microsoft.com/office/drawing/2014/main" id="{6E7B4B7D-74A3-DA21-B921-FD15744D4E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6986597" y="1480271"/>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6986597" y="3785480"/>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4277536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Otsikkodia_7">
    <p:spTree>
      <p:nvGrpSpPr>
        <p:cNvPr id="1" name=""/>
        <p:cNvGrpSpPr/>
        <p:nvPr/>
      </p:nvGrpSpPr>
      <p:grpSpPr>
        <a:xfrm>
          <a:off x="0" y="0"/>
          <a:ext cx="0" cy="0"/>
          <a:chOff x="0" y="0"/>
          <a:chExt cx="0" cy="0"/>
        </a:xfrm>
      </p:grpSpPr>
      <p:pic>
        <p:nvPicPr>
          <p:cNvPr id="4" name="Kuva 3" descr="Kuva, joka sisältää kohteen Ihmisen kasvot, vaate, henkilö&#10;&#10;Kuvaus luotu automaattisesti">
            <a:extLst>
              <a:ext uri="{FF2B5EF4-FFF2-40B4-BE49-F238E27FC236}">
                <a16:creationId xmlns:a16="http://schemas.microsoft.com/office/drawing/2014/main" id="{6BDFCD33-7B84-A343-BAF2-0E0CE704D1D1}"/>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53335" y="2471485"/>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53335" y="4776694"/>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21A10983-71C6-99CE-3E68-DB231BC4119B}"/>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9647785" y="183782"/>
            <a:ext cx="2641751" cy="1867714"/>
          </a:xfrm>
          <a:prstGeom prst="rect">
            <a:avLst/>
          </a:prstGeom>
        </p:spPr>
      </p:pic>
    </p:spTree>
    <p:extLst>
      <p:ext uri="{BB962C8B-B14F-4D97-AF65-F5344CB8AC3E}">
        <p14:creationId xmlns:p14="http://schemas.microsoft.com/office/powerpoint/2010/main" val="1316231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Otsikkodia_7">
    <p:spTree>
      <p:nvGrpSpPr>
        <p:cNvPr id="1" name=""/>
        <p:cNvGrpSpPr/>
        <p:nvPr/>
      </p:nvGrpSpPr>
      <p:grpSpPr>
        <a:xfrm>
          <a:off x="0" y="0"/>
          <a:ext cx="0" cy="0"/>
          <a:chOff x="0" y="0"/>
          <a:chExt cx="0" cy="0"/>
        </a:xfrm>
      </p:grpSpPr>
      <p:pic>
        <p:nvPicPr>
          <p:cNvPr id="6" name="Kuva 5" descr="Kuva, joka sisältää kohteen vaate, henkilö, nainen, sisä-&#10;&#10;Tekoälyn generoima sisältö voi olla virheellistä.">
            <a:extLst>
              <a:ext uri="{FF2B5EF4-FFF2-40B4-BE49-F238E27FC236}">
                <a16:creationId xmlns:a16="http://schemas.microsoft.com/office/drawing/2014/main" id="{D06DB61B-E9C4-3188-839B-94EB49BEB2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9" y="0"/>
            <a:ext cx="12189582"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53335" y="2471485"/>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53335" y="4776694"/>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21A10983-71C6-99CE-3E68-DB231BC4119B}"/>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9647785" y="183782"/>
            <a:ext cx="2641751" cy="1867714"/>
          </a:xfrm>
          <a:prstGeom prst="rect">
            <a:avLst/>
          </a:prstGeom>
        </p:spPr>
      </p:pic>
    </p:spTree>
    <p:extLst>
      <p:ext uri="{BB962C8B-B14F-4D97-AF65-F5344CB8AC3E}">
        <p14:creationId xmlns:p14="http://schemas.microsoft.com/office/powerpoint/2010/main" val="10519452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tsikkodia_8">
    <p:spTree>
      <p:nvGrpSpPr>
        <p:cNvPr id="1" name=""/>
        <p:cNvGrpSpPr/>
        <p:nvPr/>
      </p:nvGrpSpPr>
      <p:grpSpPr>
        <a:xfrm>
          <a:off x="0" y="0"/>
          <a:ext cx="0" cy="0"/>
          <a:chOff x="0" y="0"/>
          <a:chExt cx="0" cy="0"/>
        </a:xfrm>
      </p:grpSpPr>
      <p:pic>
        <p:nvPicPr>
          <p:cNvPr id="4" name="Kuva 3" descr="Kuva, joka sisältää kohteen vaate, henkilö, Ihmisen kasvot, tussitaulu&#10;&#10;Kuvaus luotu automaattisesti">
            <a:extLst>
              <a:ext uri="{FF2B5EF4-FFF2-40B4-BE49-F238E27FC236}">
                <a16:creationId xmlns:a16="http://schemas.microsoft.com/office/drawing/2014/main" id="{BBFB459C-4C9E-79AA-8599-8D3855CC6670}"/>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Grafiikka, kuvakaappaus, ympyrä&#10;&#10;Kuvaus luotu automaattisesti">
            <a:extLst>
              <a:ext uri="{FF2B5EF4-FFF2-40B4-BE49-F238E27FC236}">
                <a16:creationId xmlns:a16="http://schemas.microsoft.com/office/drawing/2014/main" id="{5B8B0E4F-725E-6040-0454-DE5BA02BA4D3}"/>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10667352" y="5150652"/>
            <a:ext cx="1012584" cy="1280529"/>
          </a:xfrm>
          <a:prstGeom prst="rect">
            <a:avLst/>
          </a:prstGeom>
        </p:spPr>
      </p:pic>
      <p:sp>
        <p:nvSpPr>
          <p:cNvPr id="7" name="Otsikko 1">
            <a:extLst>
              <a:ext uri="{FF2B5EF4-FFF2-40B4-BE49-F238E27FC236}">
                <a16:creationId xmlns:a16="http://schemas.microsoft.com/office/drawing/2014/main" id="{25DA7E56-7E9F-4438-05F6-AD5DF7A20763}"/>
              </a:ext>
            </a:extLst>
          </p:cNvPr>
          <p:cNvSpPr>
            <a:spLocks noGrp="1"/>
          </p:cNvSpPr>
          <p:nvPr>
            <p:ph type="ctrTitle" hasCustomPrompt="1"/>
          </p:nvPr>
        </p:nvSpPr>
        <p:spPr>
          <a:xfrm>
            <a:off x="7046258" y="525181"/>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Lisää otsikko napsauttamalla</a:t>
            </a:r>
          </a:p>
        </p:txBody>
      </p:sp>
      <p:sp>
        <p:nvSpPr>
          <p:cNvPr id="8" name="Alaotsikko 2">
            <a:extLst>
              <a:ext uri="{FF2B5EF4-FFF2-40B4-BE49-F238E27FC236}">
                <a16:creationId xmlns:a16="http://schemas.microsoft.com/office/drawing/2014/main" id="{473946C8-0A22-1895-CB41-4CEF3A8A7930}"/>
              </a:ext>
            </a:extLst>
          </p:cNvPr>
          <p:cNvSpPr>
            <a:spLocks noGrp="1"/>
          </p:cNvSpPr>
          <p:nvPr>
            <p:ph type="subTitle" idx="1" hasCustomPrompt="1"/>
          </p:nvPr>
        </p:nvSpPr>
        <p:spPr>
          <a:xfrm>
            <a:off x="7630244" y="2725465"/>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9678983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Otsikkodia_8">
    <p:spTree>
      <p:nvGrpSpPr>
        <p:cNvPr id="1" name=""/>
        <p:cNvGrpSpPr/>
        <p:nvPr/>
      </p:nvGrpSpPr>
      <p:grpSpPr>
        <a:xfrm>
          <a:off x="0" y="0"/>
          <a:ext cx="0" cy="0"/>
          <a:chOff x="0" y="0"/>
          <a:chExt cx="0" cy="0"/>
        </a:xfrm>
      </p:grpSpPr>
      <p:pic>
        <p:nvPicPr>
          <p:cNvPr id="9" name="Kuva 8" descr="Kuva, joka sisältää kohteen henkilö, piha-, hymy, puu&#10;&#10;Tekoälyn generoima sisältö voi olla virheellistä.">
            <a:extLst>
              <a:ext uri="{FF2B5EF4-FFF2-40B4-BE49-F238E27FC236}">
                <a16:creationId xmlns:a16="http://schemas.microsoft.com/office/drawing/2014/main" id="{C2C70475-671E-B01B-A52A-1D2BB0F853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tsikko 1">
            <a:extLst>
              <a:ext uri="{FF2B5EF4-FFF2-40B4-BE49-F238E27FC236}">
                <a16:creationId xmlns:a16="http://schemas.microsoft.com/office/drawing/2014/main" id="{25DA7E56-7E9F-4438-05F6-AD5DF7A20763}"/>
              </a:ext>
            </a:extLst>
          </p:cNvPr>
          <p:cNvSpPr>
            <a:spLocks noGrp="1"/>
          </p:cNvSpPr>
          <p:nvPr>
            <p:ph type="ctrTitle" hasCustomPrompt="1"/>
          </p:nvPr>
        </p:nvSpPr>
        <p:spPr>
          <a:xfrm>
            <a:off x="7046258" y="525181"/>
            <a:ext cx="4577123" cy="2034348"/>
          </a:xfrm>
        </p:spPr>
        <p:txBody>
          <a:bodyPr vert="horz" anchor="b">
            <a:normAutofit/>
          </a:bodyPr>
          <a:lstStyle>
            <a:lvl1pPr algn="r">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8" name="Alaotsikko 2">
            <a:extLst>
              <a:ext uri="{FF2B5EF4-FFF2-40B4-BE49-F238E27FC236}">
                <a16:creationId xmlns:a16="http://schemas.microsoft.com/office/drawing/2014/main" id="{473946C8-0A22-1895-CB41-4CEF3A8A7930}"/>
              </a:ext>
            </a:extLst>
          </p:cNvPr>
          <p:cNvSpPr>
            <a:spLocks noGrp="1"/>
          </p:cNvSpPr>
          <p:nvPr>
            <p:ph type="subTitle" idx="1" hasCustomPrompt="1"/>
          </p:nvPr>
        </p:nvSpPr>
        <p:spPr>
          <a:xfrm>
            <a:off x="7630244" y="2725465"/>
            <a:ext cx="3993137" cy="1613647"/>
          </a:xfrm>
        </p:spPr>
        <p:txBody>
          <a:bodyPr>
            <a:normAutofit/>
          </a:bodyPr>
          <a:lstStyle>
            <a:lvl1pPr marL="0" indent="0" algn="ctr">
              <a:buNone/>
              <a:defRPr sz="20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1837602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tsikkodia_8">
    <p:spTree>
      <p:nvGrpSpPr>
        <p:cNvPr id="1" name=""/>
        <p:cNvGrpSpPr/>
        <p:nvPr/>
      </p:nvGrpSpPr>
      <p:grpSpPr>
        <a:xfrm>
          <a:off x="0" y="0"/>
          <a:ext cx="0" cy="0"/>
          <a:chOff x="0" y="0"/>
          <a:chExt cx="0" cy="0"/>
        </a:xfrm>
      </p:grpSpPr>
      <p:pic>
        <p:nvPicPr>
          <p:cNvPr id="3" name="Kuva 2">
            <a:extLst>
              <a:ext uri="{FF2B5EF4-FFF2-40B4-BE49-F238E27FC236}">
                <a16:creationId xmlns:a16="http://schemas.microsoft.com/office/drawing/2014/main" id="{530FEB71-A334-BFBC-FE3D-F36F2383AD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tsikko 1">
            <a:extLst>
              <a:ext uri="{FF2B5EF4-FFF2-40B4-BE49-F238E27FC236}">
                <a16:creationId xmlns:a16="http://schemas.microsoft.com/office/drawing/2014/main" id="{25DA7E56-7E9F-4438-05F6-AD5DF7A20763}"/>
              </a:ext>
            </a:extLst>
          </p:cNvPr>
          <p:cNvSpPr>
            <a:spLocks noGrp="1"/>
          </p:cNvSpPr>
          <p:nvPr>
            <p:ph type="ctrTitle" hasCustomPrompt="1"/>
          </p:nvPr>
        </p:nvSpPr>
        <p:spPr>
          <a:xfrm>
            <a:off x="7046258" y="525181"/>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Lisää otsikko napsauttamalla</a:t>
            </a:r>
          </a:p>
        </p:txBody>
      </p:sp>
      <p:sp>
        <p:nvSpPr>
          <p:cNvPr id="8" name="Alaotsikko 2">
            <a:extLst>
              <a:ext uri="{FF2B5EF4-FFF2-40B4-BE49-F238E27FC236}">
                <a16:creationId xmlns:a16="http://schemas.microsoft.com/office/drawing/2014/main" id="{473946C8-0A22-1895-CB41-4CEF3A8A7930}"/>
              </a:ext>
            </a:extLst>
          </p:cNvPr>
          <p:cNvSpPr>
            <a:spLocks noGrp="1"/>
          </p:cNvSpPr>
          <p:nvPr>
            <p:ph type="subTitle" idx="1" hasCustomPrompt="1"/>
          </p:nvPr>
        </p:nvSpPr>
        <p:spPr>
          <a:xfrm>
            <a:off x="7630244" y="2725465"/>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34695814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tsikkodia_9">
    <p:spTree>
      <p:nvGrpSpPr>
        <p:cNvPr id="1" name=""/>
        <p:cNvGrpSpPr/>
        <p:nvPr/>
      </p:nvGrpSpPr>
      <p:grpSpPr>
        <a:xfrm>
          <a:off x="0" y="0"/>
          <a:ext cx="0" cy="0"/>
          <a:chOff x="0" y="0"/>
          <a:chExt cx="0" cy="0"/>
        </a:xfrm>
      </p:grpSpPr>
      <p:pic>
        <p:nvPicPr>
          <p:cNvPr id="4" name="Kuva 3" descr="Kuva, joka sisältää kohteen vaate, henkilö, Ihmisen kasvot, mies&#10;&#10;Kuvaus luotu automaattisesti">
            <a:extLst>
              <a:ext uri="{FF2B5EF4-FFF2-40B4-BE49-F238E27FC236}">
                <a16:creationId xmlns:a16="http://schemas.microsoft.com/office/drawing/2014/main" id="{F6709054-ABA1-E916-F15A-855FDC078783}"/>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Grafiikka, kuvakaappaus, ympyrä&#10;&#10;Kuvaus luotu automaattisesti">
            <a:extLst>
              <a:ext uri="{FF2B5EF4-FFF2-40B4-BE49-F238E27FC236}">
                <a16:creationId xmlns:a16="http://schemas.microsoft.com/office/drawing/2014/main" id="{C9231F4E-003A-6E9B-839E-AB95C4C02763}"/>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413880" y="395772"/>
            <a:ext cx="1012584" cy="1280529"/>
          </a:xfrm>
          <a:prstGeom prst="rect">
            <a:avLst/>
          </a:prstGeom>
        </p:spPr>
      </p:pic>
      <p:sp>
        <p:nvSpPr>
          <p:cNvPr id="9" name="Otsikko 1">
            <a:extLst>
              <a:ext uri="{FF2B5EF4-FFF2-40B4-BE49-F238E27FC236}">
                <a16:creationId xmlns:a16="http://schemas.microsoft.com/office/drawing/2014/main" id="{540892DA-9354-FCBF-B41F-EC7392B94426}"/>
              </a:ext>
            </a:extLst>
          </p:cNvPr>
          <p:cNvSpPr>
            <a:spLocks noGrp="1"/>
          </p:cNvSpPr>
          <p:nvPr>
            <p:ph type="ctrTitle" hasCustomPrompt="1"/>
          </p:nvPr>
        </p:nvSpPr>
        <p:spPr>
          <a:xfrm>
            <a:off x="5826870" y="1655981"/>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12" name="Alaotsikko 2">
            <a:extLst>
              <a:ext uri="{FF2B5EF4-FFF2-40B4-BE49-F238E27FC236}">
                <a16:creationId xmlns:a16="http://schemas.microsoft.com/office/drawing/2014/main" id="{76840615-2221-12D3-913D-154507704100}"/>
              </a:ext>
            </a:extLst>
          </p:cNvPr>
          <p:cNvSpPr>
            <a:spLocks noGrp="1"/>
          </p:cNvSpPr>
          <p:nvPr>
            <p:ph type="subTitle" idx="1" hasCustomPrompt="1"/>
          </p:nvPr>
        </p:nvSpPr>
        <p:spPr>
          <a:xfrm>
            <a:off x="5826870" y="390590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311347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tsikkodia_10">
    <p:spTree>
      <p:nvGrpSpPr>
        <p:cNvPr id="1" name=""/>
        <p:cNvGrpSpPr/>
        <p:nvPr/>
      </p:nvGrpSpPr>
      <p:grpSpPr>
        <a:xfrm>
          <a:off x="0" y="0"/>
          <a:ext cx="0" cy="0"/>
          <a:chOff x="0" y="0"/>
          <a:chExt cx="0" cy="0"/>
        </a:xfrm>
      </p:grpSpPr>
      <p:pic>
        <p:nvPicPr>
          <p:cNvPr id="4" name="Kuva 3" descr="Kuva, joka sisältää kohteen Ihmisen kasvot, vaate, henkilö, poika&#10;&#10;Kuvaus luotu automaattisesti">
            <a:extLst>
              <a:ext uri="{FF2B5EF4-FFF2-40B4-BE49-F238E27FC236}">
                <a16:creationId xmlns:a16="http://schemas.microsoft.com/office/drawing/2014/main" id="{DD584386-2EA4-5835-90A6-D403940F6846}"/>
              </a:ext>
            </a:extLst>
          </p:cNvPr>
          <p:cNvPicPr>
            <a:picLocks noGrp="1" noRot="1" noChangeAspec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l="6683" t="9055" r="2508" b="-4001"/>
          <a:stretch/>
        </p:blipFill>
        <p:spPr>
          <a:xfrm>
            <a:off x="0" y="0"/>
            <a:ext cx="12204000" cy="7169738"/>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5182E8CB-3898-3B9A-F661-52BE9260943E}"/>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9812805" y="4912272"/>
            <a:ext cx="2641751" cy="1867714"/>
          </a:xfrm>
          <a:prstGeom prst="rect">
            <a:avLst/>
          </a:prstGeom>
        </p:spPr>
      </p:pic>
      <p:sp>
        <p:nvSpPr>
          <p:cNvPr id="14" name="Otsikko 1">
            <a:extLst>
              <a:ext uri="{FF2B5EF4-FFF2-40B4-BE49-F238E27FC236}">
                <a16:creationId xmlns:a16="http://schemas.microsoft.com/office/drawing/2014/main" id="{A32DAF12-5469-7137-E8EC-B4E9F1BD1E60}"/>
              </a:ext>
            </a:extLst>
          </p:cNvPr>
          <p:cNvSpPr>
            <a:spLocks noGrp="1"/>
          </p:cNvSpPr>
          <p:nvPr>
            <p:ph type="ctrTitle" hasCustomPrompt="1"/>
          </p:nvPr>
        </p:nvSpPr>
        <p:spPr>
          <a:xfrm>
            <a:off x="7222571" y="1061183"/>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15" name="Alaotsikko 2">
            <a:extLst>
              <a:ext uri="{FF2B5EF4-FFF2-40B4-BE49-F238E27FC236}">
                <a16:creationId xmlns:a16="http://schemas.microsoft.com/office/drawing/2014/main" id="{982A8E0B-5496-3710-AEE5-E7CC4CD37AEF}"/>
              </a:ext>
            </a:extLst>
          </p:cNvPr>
          <p:cNvSpPr>
            <a:spLocks noGrp="1"/>
          </p:cNvSpPr>
          <p:nvPr>
            <p:ph type="subTitle" idx="1" hasCustomPrompt="1"/>
          </p:nvPr>
        </p:nvSpPr>
        <p:spPr>
          <a:xfrm>
            <a:off x="7222571" y="3366392"/>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37419288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Otsikkodia_10">
    <p:spTree>
      <p:nvGrpSpPr>
        <p:cNvPr id="1" name=""/>
        <p:cNvGrpSpPr/>
        <p:nvPr/>
      </p:nvGrpSpPr>
      <p:grpSpPr>
        <a:xfrm>
          <a:off x="0" y="0"/>
          <a:ext cx="0" cy="0"/>
          <a:chOff x="0" y="0"/>
          <a:chExt cx="0" cy="0"/>
        </a:xfrm>
      </p:grpSpPr>
      <p:pic>
        <p:nvPicPr>
          <p:cNvPr id="4" name="Kuva 3" descr="Kuva, joka sisältää kohteen Ihmisen kasvot, vaate, henkilö, poika&#10;&#10;Kuvaus luotu automaattisesti">
            <a:extLst>
              <a:ext uri="{FF2B5EF4-FFF2-40B4-BE49-F238E27FC236}">
                <a16:creationId xmlns:a16="http://schemas.microsoft.com/office/drawing/2014/main" id="{DD584386-2EA4-5835-90A6-D403940F6846}"/>
              </a:ext>
            </a:extLst>
          </p:cNvPr>
          <p:cNvPicPr>
            <a:picLocks noGrp="1" noRot="1" noChangeAspec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l="6683" t="9055" r="2508" b="-4001"/>
          <a:stretch/>
        </p:blipFill>
        <p:spPr>
          <a:xfrm>
            <a:off x="0" y="0"/>
            <a:ext cx="12204000" cy="7169738"/>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tsikko 1">
            <a:extLst>
              <a:ext uri="{FF2B5EF4-FFF2-40B4-BE49-F238E27FC236}">
                <a16:creationId xmlns:a16="http://schemas.microsoft.com/office/drawing/2014/main" id="{A32DAF12-5469-7137-E8EC-B4E9F1BD1E60}"/>
              </a:ext>
            </a:extLst>
          </p:cNvPr>
          <p:cNvSpPr>
            <a:spLocks noGrp="1"/>
          </p:cNvSpPr>
          <p:nvPr>
            <p:ph type="ctrTitle" hasCustomPrompt="1"/>
          </p:nvPr>
        </p:nvSpPr>
        <p:spPr>
          <a:xfrm>
            <a:off x="7222571" y="1061183"/>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15" name="Alaotsikko 2">
            <a:extLst>
              <a:ext uri="{FF2B5EF4-FFF2-40B4-BE49-F238E27FC236}">
                <a16:creationId xmlns:a16="http://schemas.microsoft.com/office/drawing/2014/main" id="{982A8E0B-5496-3710-AEE5-E7CC4CD37AEF}"/>
              </a:ext>
            </a:extLst>
          </p:cNvPr>
          <p:cNvSpPr>
            <a:spLocks noGrp="1"/>
          </p:cNvSpPr>
          <p:nvPr>
            <p:ph type="subTitle" idx="1" hasCustomPrompt="1"/>
          </p:nvPr>
        </p:nvSpPr>
        <p:spPr>
          <a:xfrm>
            <a:off x="7222571" y="3366392"/>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1484892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tsikkodia_11">
    <p:spTree>
      <p:nvGrpSpPr>
        <p:cNvPr id="1" name=""/>
        <p:cNvGrpSpPr/>
        <p:nvPr/>
      </p:nvGrpSpPr>
      <p:grpSpPr>
        <a:xfrm>
          <a:off x="0" y="0"/>
          <a:ext cx="0" cy="0"/>
          <a:chOff x="0" y="0"/>
          <a:chExt cx="0" cy="0"/>
        </a:xfrm>
      </p:grpSpPr>
      <p:pic>
        <p:nvPicPr>
          <p:cNvPr id="4" name="Kuva 3" descr="Kuva, joka sisältää kohteen Ihmisen kasvot, henkilö, taapero, vaate&#10;&#10;Kuvaus luotu automaattisesti">
            <a:extLst>
              <a:ext uri="{FF2B5EF4-FFF2-40B4-BE49-F238E27FC236}">
                <a16:creationId xmlns:a16="http://schemas.microsoft.com/office/drawing/2014/main" id="{C0EE51B3-A202-050F-B2DA-8E09E419A59B}"/>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t="7350" b="-4132"/>
          <a:stretch/>
        </p:blipFill>
        <p:spPr>
          <a:xfrm>
            <a:off x="0" y="0"/>
            <a:ext cx="12191999" cy="7163999"/>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50993F08-CC65-4E1C-54AA-B64130270703}"/>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9493096" y="4876698"/>
            <a:ext cx="2641751" cy="1867714"/>
          </a:xfrm>
          <a:prstGeom prst="rect">
            <a:avLst/>
          </a:prstGeom>
        </p:spPr>
      </p:pic>
      <p:sp>
        <p:nvSpPr>
          <p:cNvPr id="6" name="Alaotsikko 2">
            <a:extLst>
              <a:ext uri="{FF2B5EF4-FFF2-40B4-BE49-F238E27FC236}">
                <a16:creationId xmlns:a16="http://schemas.microsoft.com/office/drawing/2014/main" id="{9495913B-7142-6F9B-73B2-93BA0D1E638A}"/>
              </a:ext>
            </a:extLst>
          </p:cNvPr>
          <p:cNvSpPr>
            <a:spLocks noGrp="1"/>
          </p:cNvSpPr>
          <p:nvPr>
            <p:ph type="subTitle" idx="1" hasCustomPrompt="1"/>
          </p:nvPr>
        </p:nvSpPr>
        <p:spPr>
          <a:xfrm>
            <a:off x="7101725" y="3398992"/>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F8EDBC9C-4A11-0B42-A416-6957E81B05D3}"/>
              </a:ext>
            </a:extLst>
          </p:cNvPr>
          <p:cNvSpPr>
            <a:spLocks noGrp="1"/>
          </p:cNvSpPr>
          <p:nvPr>
            <p:ph type="ctrTitle" hasCustomPrompt="1"/>
          </p:nvPr>
        </p:nvSpPr>
        <p:spPr>
          <a:xfrm>
            <a:off x="6517739" y="1056815"/>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Lisää otsikko napsauttamalla</a:t>
            </a:r>
          </a:p>
        </p:txBody>
      </p:sp>
    </p:spTree>
    <p:extLst>
      <p:ext uri="{BB962C8B-B14F-4D97-AF65-F5344CB8AC3E}">
        <p14:creationId xmlns:p14="http://schemas.microsoft.com/office/powerpoint/2010/main" val="2776582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tsikkodia_2">
    <p:spTree>
      <p:nvGrpSpPr>
        <p:cNvPr id="1" name=""/>
        <p:cNvGrpSpPr/>
        <p:nvPr/>
      </p:nvGrpSpPr>
      <p:grpSpPr>
        <a:xfrm>
          <a:off x="0" y="0"/>
          <a:ext cx="0" cy="0"/>
          <a:chOff x="0" y="0"/>
          <a:chExt cx="0" cy="0"/>
        </a:xfrm>
      </p:grpSpPr>
      <p:pic>
        <p:nvPicPr>
          <p:cNvPr id="4" name="Kuva 3" descr="Kuva, joka sisältää kohteen Ihmisen kasvot, vaate, henkilö, tyttö&#10;&#10;Kuvaus luotu automaattisesti">
            <a:extLst>
              <a:ext uri="{FF2B5EF4-FFF2-40B4-BE49-F238E27FC236}">
                <a16:creationId xmlns:a16="http://schemas.microsoft.com/office/drawing/2014/main" id="{12683D11-A1D5-1D0B-7F41-FB94E27F2FFC}"/>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EFE43AA5-81C5-F0DD-F621-ED4D137FBF9C}"/>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0" y="170810"/>
            <a:ext cx="2641751" cy="1867714"/>
          </a:xfrm>
          <a:prstGeom prst="rect">
            <a:avLst/>
          </a:prstGeom>
        </p:spPr>
      </p:pic>
      <p:sp>
        <p:nvSpPr>
          <p:cNvPr id="2" name="Otsikko 1">
            <a:extLst>
              <a:ext uri="{FF2B5EF4-FFF2-40B4-BE49-F238E27FC236}">
                <a16:creationId xmlns:a16="http://schemas.microsoft.com/office/drawing/2014/main" id="{885D218D-89FB-42EC-E303-594063FA00AE}"/>
              </a:ext>
            </a:extLst>
          </p:cNvPr>
          <p:cNvSpPr>
            <a:spLocks noGrp="1"/>
          </p:cNvSpPr>
          <p:nvPr>
            <p:ph type="ctrTitle" hasCustomPrompt="1"/>
          </p:nvPr>
        </p:nvSpPr>
        <p:spPr>
          <a:xfrm>
            <a:off x="6678917" y="1954395"/>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93B57076-37A1-45FB-B9E2-48056B91EB38}"/>
              </a:ext>
            </a:extLst>
          </p:cNvPr>
          <p:cNvSpPr>
            <a:spLocks noGrp="1"/>
          </p:cNvSpPr>
          <p:nvPr>
            <p:ph type="subTitle" idx="1" hasCustomPrompt="1"/>
          </p:nvPr>
        </p:nvSpPr>
        <p:spPr>
          <a:xfrm>
            <a:off x="6678917" y="4259604"/>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2168368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Otsikkodia_12">
    <p:spTree>
      <p:nvGrpSpPr>
        <p:cNvPr id="1" name=""/>
        <p:cNvGrpSpPr/>
        <p:nvPr/>
      </p:nvGrpSpPr>
      <p:grpSpPr>
        <a:xfrm>
          <a:off x="0" y="0"/>
          <a:ext cx="0" cy="0"/>
          <a:chOff x="0" y="0"/>
          <a:chExt cx="0" cy="0"/>
        </a:xfrm>
      </p:grpSpPr>
      <p:pic>
        <p:nvPicPr>
          <p:cNvPr id="4" name="Kuva 3" descr="Kuva, joka sisältää kohteen vaate, henkilö, taapero, sisä-&#10;&#10;Kuvaus luotu automaattisesti">
            <a:extLst>
              <a:ext uri="{FF2B5EF4-FFF2-40B4-BE49-F238E27FC236}">
                <a16:creationId xmlns:a16="http://schemas.microsoft.com/office/drawing/2014/main" id="{5192908B-6D4E-6560-88BA-79A1BB3A559A}"/>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83815" y="1732113"/>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a:t>
            </a:r>
            <a:br>
              <a:rPr lang="fi-FI"/>
            </a:br>
            <a:r>
              <a:rPr lang="fi-FI"/>
              <a:t>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83815" y="4037322"/>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529F3CC2-3886-1436-B35B-DFCA6E7D36BC}"/>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9550249" y="273457"/>
            <a:ext cx="2641751" cy="1867714"/>
          </a:xfrm>
          <a:prstGeom prst="rect">
            <a:avLst/>
          </a:prstGeom>
        </p:spPr>
      </p:pic>
    </p:spTree>
    <p:extLst>
      <p:ext uri="{BB962C8B-B14F-4D97-AF65-F5344CB8AC3E}">
        <p14:creationId xmlns:p14="http://schemas.microsoft.com/office/powerpoint/2010/main" val="21656995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Otsikkodia_12">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7B859553-D3B1-5FB6-D803-F41808957B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0" y="1678"/>
            <a:ext cx="12194986" cy="6856322"/>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83815" y="1732113"/>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a:t>
            </a:r>
            <a:br>
              <a:rPr lang="fi-FI"/>
            </a:br>
            <a:r>
              <a:rPr lang="fi-FI"/>
              <a:t>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83815" y="4037322"/>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8" name="Kuva 7" descr="Kuva, joka sisältää kohteen symboli, Grafiikka, kuvakaappaus, ympyrä&#10;&#10;Kuvaus luotu automaattisesti">
            <a:extLst>
              <a:ext uri="{FF2B5EF4-FFF2-40B4-BE49-F238E27FC236}">
                <a16:creationId xmlns:a16="http://schemas.microsoft.com/office/drawing/2014/main" id="{789B63B8-7267-D6EA-5298-FC880873118A}"/>
              </a:ext>
            </a:extLst>
          </p:cNvPr>
          <p:cNvPicPr/>
          <p:nvPr userDrawn="1"/>
        </p:nvPicPr>
        <p:blipFill>
          <a:blip r:embed="rId6">
            <a:extLst>
              <a:ext uri="{28A0092B-C50C-407E-A947-70E740481C1C}">
                <a14:useLocalDpi xmlns:a14="http://schemas.microsoft.com/office/drawing/2010/main" val="0"/>
              </a:ext>
            </a:extLst>
          </a:blip>
          <a:stretch>
            <a:fillRect/>
          </a:stretch>
        </p:blipFill>
        <p:spPr>
          <a:xfrm>
            <a:off x="10667352" y="5150652"/>
            <a:ext cx="1012584" cy="1280529"/>
          </a:xfrm>
          <a:prstGeom prst="rect">
            <a:avLst/>
          </a:prstGeom>
        </p:spPr>
      </p:pic>
    </p:spTree>
    <p:extLst>
      <p:ext uri="{BB962C8B-B14F-4D97-AF65-F5344CB8AC3E}">
        <p14:creationId xmlns:p14="http://schemas.microsoft.com/office/powerpoint/2010/main" val="29939717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Otsikkodia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531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B7054C96-6274-4344-8F1C-9D8B3F9EBDE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1524000" y="1390924"/>
            <a:ext cx="9144000" cy="2387600"/>
          </a:xfrm>
        </p:spPr>
        <p:txBody>
          <a:bodyPr vert="horz" anchor="b">
            <a:normAutofit/>
          </a:bodyPr>
          <a:lstStyle>
            <a:lvl1pPr algn="ctr">
              <a:defRPr sz="5400" b="1">
                <a:solidFill>
                  <a:schemeClr val="bg1"/>
                </a:solidFill>
                <a:latin typeface="Arial" panose="020B0604020202020204" pitchFamily="34" charset="0"/>
                <a:cs typeface="Arial"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1524000" y="4343075"/>
            <a:ext cx="9144000" cy="1566590"/>
          </a:xfrm>
        </p:spPr>
        <p:txBody>
          <a:bodyP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cxnSp>
        <p:nvCxnSpPr>
          <p:cNvPr id="9" name="Suora yhdysviiva 8">
            <a:extLst>
              <a:ext uri="{FF2B5EF4-FFF2-40B4-BE49-F238E27FC236}">
                <a16:creationId xmlns:a16="http://schemas.microsoft.com/office/drawing/2014/main" id="{E4DA1EC6-FD96-4315-9EBD-2928B8B679DF}"/>
              </a:ext>
            </a:extLst>
          </p:cNvPr>
          <p:cNvCxnSpPr>
            <a:cxnSpLocks/>
          </p:cNvCxnSpPr>
          <p:nvPr userDrawn="1"/>
        </p:nvCxnSpPr>
        <p:spPr>
          <a:xfrm>
            <a:off x="4898211" y="4067149"/>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6309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83BC1A8A-A3C3-4DC4-A71B-238228D243E8}"/>
              </a:ext>
            </a:extLst>
          </p:cNvPr>
          <p:cNvGraphicFramePr>
            <a:graphicFrameLocks noChangeAspect="1"/>
          </p:cNvGraphicFramePr>
          <p:nvPr userDrawn="1">
            <p:custDataLst>
              <p:tags r:id="rId1"/>
            </p:custDataLst>
            <p:extLst>
              <p:ext uri="{D42A27DB-BD31-4B8C-83A1-F6EECF244321}">
                <p14:modId xmlns:p14="http://schemas.microsoft.com/office/powerpoint/2010/main" val="232475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Objekti 7" hidden="1">
                        <a:extLst>
                          <a:ext uri="{FF2B5EF4-FFF2-40B4-BE49-F238E27FC236}">
                            <a16:creationId xmlns:a16="http://schemas.microsoft.com/office/drawing/2014/main" id="{83BC1A8A-A3C3-4DC4-A71B-238228D24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13994B2C-6ECC-4E39-B141-20CC0B17B37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3F7BCA4F-9062-4B46-9FA2-755EDD857CEF}"/>
              </a:ext>
            </a:extLst>
          </p:cNvPr>
          <p:cNvSpPr>
            <a:spLocks noGrp="1"/>
          </p:cNvSpPr>
          <p:nvPr>
            <p:ph type="title"/>
          </p:nvPr>
        </p:nvSpPr>
        <p:spPr>
          <a:xfrm>
            <a:off x="661468" y="1830722"/>
            <a:ext cx="5018363" cy="1642460"/>
          </a:xfrm>
        </p:spPr>
        <p:txBody>
          <a:bodyPr vert="horz" anchor="b"/>
          <a:lstStyle>
            <a:lvl1pPr>
              <a:defRPr>
                <a:latin typeface="Arial" panose="020B0604020202020204" pitchFamily="34" charset="0"/>
                <a:cs typeface="Arial"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8B774BBC-BD18-4C6B-B972-A50EF26B2F54}"/>
              </a:ext>
            </a:extLst>
          </p:cNvPr>
          <p:cNvSpPr>
            <a:spLocks noGrp="1"/>
          </p:cNvSpPr>
          <p:nvPr>
            <p:ph idx="1"/>
          </p:nvPr>
        </p:nvSpPr>
        <p:spPr>
          <a:xfrm>
            <a:off x="6754266" y="701702"/>
            <a:ext cx="4856309" cy="5454597"/>
          </a:xfrm>
        </p:spPr>
        <p:txBody>
          <a:bodyPr anchor="ctr"/>
          <a:lstStyle>
            <a:lvl4pPr>
              <a:defRPr/>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F5B6CC3-33F4-4CC1-81A3-6A2EC0F72F05}"/>
              </a:ext>
            </a:extLst>
          </p:cNvPr>
          <p:cNvSpPr>
            <a:spLocks noGrp="1"/>
          </p:cNvSpPr>
          <p:nvPr>
            <p:ph type="dt" sz="half" idx="10"/>
          </p:nvPr>
        </p:nvSpPr>
        <p:spPr>
          <a:xfrm>
            <a:off x="9244533" y="143813"/>
            <a:ext cx="2743200" cy="365125"/>
          </a:xfrm>
        </p:spPr>
        <p:txBody>
          <a:bodyPr/>
          <a:lstStyle>
            <a:lvl1pPr algn="r">
              <a:defRPr/>
            </a:lvl1pPr>
          </a:lstStyle>
          <a:p>
            <a:fld id="{C195E768-76B1-434E-9289-2595ECCB79C4}" type="datetime1">
              <a:rPr lang="fi-FI" smtClean="0"/>
              <a:t>26.1.2026</a:t>
            </a:fld>
            <a:endParaRPr lang="fi-FI"/>
          </a:p>
        </p:txBody>
      </p:sp>
      <p:sp>
        <p:nvSpPr>
          <p:cNvPr id="15" name="Dian numeron paikkamerkki 5">
            <a:extLst>
              <a:ext uri="{FF2B5EF4-FFF2-40B4-BE49-F238E27FC236}">
                <a16:creationId xmlns:a16="http://schemas.microsoft.com/office/drawing/2014/main" id="{484D391B-6EFF-4180-9E7A-334F2CB52EDE}"/>
              </a:ext>
            </a:extLst>
          </p:cNvPr>
          <p:cNvSpPr txBox="1">
            <a:spLocks/>
          </p:cNvSpPr>
          <p:nvPr userDrawn="1"/>
        </p:nvSpPr>
        <p:spPr>
          <a:xfrm>
            <a:off x="9206113" y="6311900"/>
            <a:ext cx="2743200" cy="365125"/>
          </a:xfrm>
          <a:prstGeom prst="rect">
            <a:avLst/>
          </a:prstGeom>
        </p:spPr>
        <p:txBody>
          <a:bodyPr vert="horz" lIns="91440" tIns="45720" rIns="91440" bIns="45720" rtlCol="0" anchor="ctr"/>
          <a:lstStyle>
            <a:defPPr>
              <a:defRPr lang="fi-FI"/>
            </a:defPPr>
            <a:lvl1pPr marL="0" algn="r" defTabSz="914400" rtl="0" eaLnBrk="1" latinLnBrk="0" hangingPunct="1">
              <a:defRPr sz="110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B37718-6688-4F18-A3A4-5BFEA6AE51A8}" type="slidenum">
              <a:rPr lang="fi-FI" smtClean="0"/>
              <a:pPr/>
              <a:t>‹#›</a:t>
            </a:fld>
            <a:endParaRPr lang="fi-FI"/>
          </a:p>
        </p:txBody>
      </p:sp>
      <p:sp>
        <p:nvSpPr>
          <p:cNvPr id="13" name="Tekstin paikkamerkki 3">
            <a:extLst>
              <a:ext uri="{FF2B5EF4-FFF2-40B4-BE49-F238E27FC236}">
                <a16:creationId xmlns:a16="http://schemas.microsoft.com/office/drawing/2014/main" id="{EF4AC885-2B1D-41F5-80AC-E7E8B3892652}"/>
              </a:ext>
            </a:extLst>
          </p:cNvPr>
          <p:cNvSpPr>
            <a:spLocks noGrp="1"/>
          </p:cNvSpPr>
          <p:nvPr>
            <p:ph type="body" sz="half" idx="2"/>
          </p:nvPr>
        </p:nvSpPr>
        <p:spPr>
          <a:xfrm>
            <a:off x="661468" y="3622431"/>
            <a:ext cx="5018363" cy="2246556"/>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426947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Otsikko ja sisältö">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83BC1A8A-A3C3-4DC4-A71B-238228D243E8}"/>
              </a:ext>
            </a:extLst>
          </p:cNvPr>
          <p:cNvGraphicFramePr>
            <a:graphicFrameLocks noChangeAspect="1"/>
          </p:cNvGraphicFramePr>
          <p:nvPr userDrawn="1">
            <p:custDataLst>
              <p:tags r:id="rId1"/>
            </p:custDataLst>
            <p:extLst>
              <p:ext uri="{D42A27DB-BD31-4B8C-83A1-F6EECF244321}">
                <p14:modId xmlns:p14="http://schemas.microsoft.com/office/powerpoint/2010/main" val="232475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Objekti 7" hidden="1">
                        <a:extLst>
                          <a:ext uri="{FF2B5EF4-FFF2-40B4-BE49-F238E27FC236}">
                            <a16:creationId xmlns:a16="http://schemas.microsoft.com/office/drawing/2014/main" id="{83BC1A8A-A3C3-4DC4-A71B-238228D24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13994B2C-6ECC-4E39-B141-20CC0B17B37D}"/>
              </a:ext>
            </a:extLst>
          </p:cNvPr>
          <p:cNvPicPr>
            <a:picLocks noChangeAspect="1"/>
          </p:cNvPicPr>
          <p:nvPr userDrawn="1"/>
        </p:nvPicPr>
        <p:blipFill>
          <a:blip r:embed="rId5">
            <a:extLst>
              <a:ext uri="{28A0092B-C50C-407E-A947-70E740481C1C}">
                <a14:useLocalDpi xmlns:a14="http://schemas.microsoft.com/office/drawing/2010/main" val="0"/>
              </a:ext>
            </a:extLst>
          </a:blip>
          <a:srcRect l="11098"/>
          <a:stretch/>
        </p:blipFill>
        <p:spPr>
          <a:xfrm>
            <a:off x="-1" y="0"/>
            <a:ext cx="10838949" cy="6858000"/>
          </a:xfrm>
          <a:prstGeom prst="rect">
            <a:avLst/>
          </a:prstGeom>
        </p:spPr>
      </p:pic>
      <p:sp>
        <p:nvSpPr>
          <p:cNvPr id="2" name="Otsikko 1">
            <a:extLst>
              <a:ext uri="{FF2B5EF4-FFF2-40B4-BE49-F238E27FC236}">
                <a16:creationId xmlns:a16="http://schemas.microsoft.com/office/drawing/2014/main" id="{3F7BCA4F-9062-4B46-9FA2-755EDD857CEF}"/>
              </a:ext>
            </a:extLst>
          </p:cNvPr>
          <p:cNvSpPr>
            <a:spLocks noGrp="1"/>
          </p:cNvSpPr>
          <p:nvPr>
            <p:ph type="title"/>
          </p:nvPr>
        </p:nvSpPr>
        <p:spPr>
          <a:xfrm>
            <a:off x="661468" y="1830722"/>
            <a:ext cx="5018363" cy="1642460"/>
          </a:xfrm>
        </p:spPr>
        <p:txBody>
          <a:bodyPr vert="horz" anchor="b"/>
          <a:lstStyle>
            <a:lvl1pPr>
              <a:defRPr>
                <a:latin typeface="Arial" panose="020B0604020202020204" pitchFamily="34" charset="0"/>
                <a:cs typeface="Arial"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8B774BBC-BD18-4C6B-B972-A50EF26B2F54}"/>
              </a:ext>
            </a:extLst>
          </p:cNvPr>
          <p:cNvSpPr>
            <a:spLocks noGrp="1"/>
          </p:cNvSpPr>
          <p:nvPr>
            <p:ph idx="1"/>
          </p:nvPr>
        </p:nvSpPr>
        <p:spPr>
          <a:xfrm>
            <a:off x="6754266" y="701702"/>
            <a:ext cx="4856309" cy="5454597"/>
          </a:xfrm>
        </p:spPr>
        <p:txBody>
          <a:bodyPr anchor="ctr"/>
          <a:lstStyle>
            <a:lvl4pPr>
              <a:defRPr/>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F5B6CC3-33F4-4CC1-81A3-6A2EC0F72F05}"/>
              </a:ext>
            </a:extLst>
          </p:cNvPr>
          <p:cNvSpPr>
            <a:spLocks noGrp="1"/>
          </p:cNvSpPr>
          <p:nvPr>
            <p:ph type="dt" sz="half" idx="10"/>
          </p:nvPr>
        </p:nvSpPr>
        <p:spPr>
          <a:xfrm>
            <a:off x="9244533" y="143813"/>
            <a:ext cx="2743200" cy="365125"/>
          </a:xfrm>
        </p:spPr>
        <p:txBody>
          <a:bodyPr/>
          <a:lstStyle>
            <a:lvl1pPr algn="r">
              <a:defRPr/>
            </a:lvl1pPr>
          </a:lstStyle>
          <a:p>
            <a:fld id="{C195E768-76B1-434E-9289-2595ECCB79C4}" type="datetime1">
              <a:rPr lang="fi-FI" smtClean="0"/>
              <a:t>26.1.2026</a:t>
            </a:fld>
            <a:endParaRPr lang="fi-FI"/>
          </a:p>
        </p:txBody>
      </p:sp>
      <p:sp>
        <p:nvSpPr>
          <p:cNvPr id="15" name="Dian numeron paikkamerkki 5">
            <a:extLst>
              <a:ext uri="{FF2B5EF4-FFF2-40B4-BE49-F238E27FC236}">
                <a16:creationId xmlns:a16="http://schemas.microsoft.com/office/drawing/2014/main" id="{484D391B-6EFF-4180-9E7A-334F2CB52EDE}"/>
              </a:ext>
            </a:extLst>
          </p:cNvPr>
          <p:cNvSpPr txBox="1">
            <a:spLocks/>
          </p:cNvSpPr>
          <p:nvPr userDrawn="1"/>
        </p:nvSpPr>
        <p:spPr>
          <a:xfrm>
            <a:off x="9206113" y="6311900"/>
            <a:ext cx="2743200" cy="365125"/>
          </a:xfrm>
          <a:prstGeom prst="rect">
            <a:avLst/>
          </a:prstGeom>
        </p:spPr>
        <p:txBody>
          <a:bodyPr vert="horz" lIns="91440" tIns="45720" rIns="91440" bIns="45720" rtlCol="0" anchor="ctr"/>
          <a:lstStyle>
            <a:defPPr>
              <a:defRPr lang="fi-FI"/>
            </a:defPPr>
            <a:lvl1pPr marL="0" algn="r" defTabSz="914400" rtl="0" eaLnBrk="1" latinLnBrk="0" hangingPunct="1">
              <a:defRPr sz="110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B37718-6688-4F18-A3A4-5BFEA6AE51A8}" type="slidenum">
              <a:rPr lang="fi-FI" smtClean="0"/>
              <a:pPr/>
              <a:t>‹#›</a:t>
            </a:fld>
            <a:endParaRPr lang="fi-FI"/>
          </a:p>
        </p:txBody>
      </p:sp>
      <p:sp>
        <p:nvSpPr>
          <p:cNvPr id="13" name="Tekstin paikkamerkki 3">
            <a:extLst>
              <a:ext uri="{FF2B5EF4-FFF2-40B4-BE49-F238E27FC236}">
                <a16:creationId xmlns:a16="http://schemas.microsoft.com/office/drawing/2014/main" id="{EF4AC885-2B1D-41F5-80AC-E7E8B3892652}"/>
              </a:ext>
            </a:extLst>
          </p:cNvPr>
          <p:cNvSpPr>
            <a:spLocks noGrp="1"/>
          </p:cNvSpPr>
          <p:nvPr>
            <p:ph type="body" sz="half" idx="2"/>
          </p:nvPr>
        </p:nvSpPr>
        <p:spPr>
          <a:xfrm>
            <a:off x="661468" y="3622431"/>
            <a:ext cx="5018363" cy="2246556"/>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8399336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52532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6.1.2026</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3" name="Suorakulmio 2">
            <a:extLst>
              <a:ext uri="{FF2B5EF4-FFF2-40B4-BE49-F238E27FC236}">
                <a16:creationId xmlns:a16="http://schemas.microsoft.com/office/drawing/2014/main" id="{9CFAE63D-92BD-E956-0D73-32AD56C0EDA1}"/>
              </a:ext>
            </a:extLst>
          </p:cNvPr>
          <p:cNvSpPr/>
          <p:nvPr userDrawn="1"/>
        </p:nvSpPr>
        <p:spPr>
          <a:xfrm>
            <a:off x="1215614" y="0"/>
            <a:ext cx="1258645"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917470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ksi palsta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7336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7123099"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456A09B5-4BD5-4BED-8EEC-68F2A4ACDD07}" type="datetime1">
              <a:rPr lang="fi-FI" smtClean="0"/>
              <a:t>26.1.2026</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1" name="Sisällön paikkamerkki 3">
            <a:extLst>
              <a:ext uri="{FF2B5EF4-FFF2-40B4-BE49-F238E27FC236}">
                <a16:creationId xmlns:a16="http://schemas.microsoft.com/office/drawing/2014/main" id="{4FFC9929-2D4B-4FA7-A3FA-B826124BFBE4}"/>
              </a:ext>
            </a:extLst>
          </p:cNvPr>
          <p:cNvSpPr>
            <a:spLocks noGrp="1"/>
          </p:cNvSpPr>
          <p:nvPr>
            <p:ph sz="half" idx="13"/>
          </p:nvPr>
        </p:nvSpPr>
        <p:spPr>
          <a:xfrm>
            <a:off x="2612570"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61858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ksi palstaa otsikoill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1545634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CDABFAD4-1674-4CF2-B45B-8A6AE3267E70}" type="datetime1">
              <a:rPr lang="fi-FI" smtClean="0"/>
              <a:t>26.1.2026</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Tekstin paikkamerkki 2">
            <a:extLst>
              <a:ext uri="{FF2B5EF4-FFF2-40B4-BE49-F238E27FC236}">
                <a16:creationId xmlns:a16="http://schemas.microsoft.com/office/drawing/2014/main" id="{DB8E5AD2-AC49-41BF-8E8E-B9E708CF8BB5}"/>
              </a:ext>
            </a:extLst>
          </p:cNvPr>
          <p:cNvSpPr>
            <a:spLocks noGrp="1"/>
          </p:cNvSpPr>
          <p:nvPr>
            <p:ph type="body" idx="1"/>
          </p:nvPr>
        </p:nvSpPr>
        <p:spPr>
          <a:xfrm>
            <a:off x="2612570" y="1825625"/>
            <a:ext cx="4356848"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kstin paikkamerkki 4">
            <a:extLst>
              <a:ext uri="{FF2B5EF4-FFF2-40B4-BE49-F238E27FC236}">
                <a16:creationId xmlns:a16="http://schemas.microsoft.com/office/drawing/2014/main" id="{682673EF-6749-45FF-934F-521AB8AF89D9}"/>
              </a:ext>
            </a:extLst>
          </p:cNvPr>
          <p:cNvSpPr>
            <a:spLocks noGrp="1"/>
          </p:cNvSpPr>
          <p:nvPr>
            <p:ph type="body" sz="quarter" idx="3"/>
          </p:nvPr>
        </p:nvSpPr>
        <p:spPr>
          <a:xfrm>
            <a:off x="7123099" y="1825625"/>
            <a:ext cx="4356847"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Sisällön paikkamerkki 3">
            <a:extLst>
              <a:ext uri="{FF2B5EF4-FFF2-40B4-BE49-F238E27FC236}">
                <a16:creationId xmlns:a16="http://schemas.microsoft.com/office/drawing/2014/main" id="{144CFA57-DA64-4D38-8D84-371526158F67}"/>
              </a:ext>
            </a:extLst>
          </p:cNvPr>
          <p:cNvSpPr>
            <a:spLocks noGrp="1"/>
          </p:cNvSpPr>
          <p:nvPr>
            <p:ph sz="half" idx="2"/>
          </p:nvPr>
        </p:nvSpPr>
        <p:spPr>
          <a:xfrm>
            <a:off x="7123099"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4" name="Sisällön paikkamerkki 3">
            <a:extLst>
              <a:ext uri="{FF2B5EF4-FFF2-40B4-BE49-F238E27FC236}">
                <a16:creationId xmlns:a16="http://schemas.microsoft.com/office/drawing/2014/main" id="{EA4B8D27-0B6D-4D93-BEA3-C8D021A54D4C}"/>
              </a:ext>
            </a:extLst>
          </p:cNvPr>
          <p:cNvSpPr>
            <a:spLocks noGrp="1"/>
          </p:cNvSpPr>
          <p:nvPr>
            <p:ph sz="half" idx="13"/>
          </p:nvPr>
        </p:nvSpPr>
        <p:spPr>
          <a:xfrm>
            <a:off x="2612570"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85137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Väliotsikko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9296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56E71187-36AE-484F-BB17-5AEC7FEC5F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04367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Väliotsikko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65497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F0B70832-C857-4352-9AB3-07B0CEC30C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3059876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Otsikkodia_2">
    <p:spTree>
      <p:nvGrpSpPr>
        <p:cNvPr id="1" name=""/>
        <p:cNvGrpSpPr/>
        <p:nvPr/>
      </p:nvGrpSpPr>
      <p:grpSpPr>
        <a:xfrm>
          <a:off x="0" y="0"/>
          <a:ext cx="0" cy="0"/>
          <a:chOff x="0" y="0"/>
          <a:chExt cx="0" cy="0"/>
        </a:xfrm>
      </p:grpSpPr>
      <p:pic>
        <p:nvPicPr>
          <p:cNvPr id="4" name="Kuva 3" descr="Kuva, joka sisältää kohteen Ihmisen kasvot, vaate, henkilö, tyttö&#10;&#10;Kuvaus luotu automaattisesti">
            <a:extLst>
              <a:ext uri="{FF2B5EF4-FFF2-40B4-BE49-F238E27FC236}">
                <a16:creationId xmlns:a16="http://schemas.microsoft.com/office/drawing/2014/main" id="{12683D11-A1D5-1D0B-7F41-FB94E27F2FFC}"/>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885D218D-89FB-42EC-E303-594063FA00AE}"/>
              </a:ext>
            </a:extLst>
          </p:cNvPr>
          <p:cNvSpPr>
            <a:spLocks noGrp="1"/>
          </p:cNvSpPr>
          <p:nvPr>
            <p:ph type="ctrTitle" hasCustomPrompt="1"/>
          </p:nvPr>
        </p:nvSpPr>
        <p:spPr>
          <a:xfrm>
            <a:off x="6678917" y="1954395"/>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93B57076-37A1-45FB-B9E2-48056B91EB38}"/>
              </a:ext>
            </a:extLst>
          </p:cNvPr>
          <p:cNvSpPr>
            <a:spLocks noGrp="1"/>
          </p:cNvSpPr>
          <p:nvPr>
            <p:ph type="subTitle" idx="1" hasCustomPrompt="1"/>
          </p:nvPr>
        </p:nvSpPr>
        <p:spPr>
          <a:xfrm>
            <a:off x="6678917" y="4259604"/>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1074794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Väliotsikko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19459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69DB39D1-E9DE-4768-B8E5-E053B3D952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19480732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Väliotsikko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2449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projektori&#10;&#10;Kuvaus luotu automaattisesti">
            <a:extLst>
              <a:ext uri="{FF2B5EF4-FFF2-40B4-BE49-F238E27FC236}">
                <a16:creationId xmlns:a16="http://schemas.microsoft.com/office/drawing/2014/main" id="{1F6A6F5A-2B5A-4C9F-8B1D-C8C1B4F6F11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7879968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Väliotsikko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55262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7D072600-72AA-43DA-A6A5-4467A400B2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6769489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Aihealue 1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96697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1CB9458-F8AF-497E-9F81-AD036D03DEDB}"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6940445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ihealue 1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3575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7009661-B6A2-4FCB-BD74-92B50AB3778C}"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2" name="Otsikko 1">
            <a:extLst>
              <a:ext uri="{FF2B5EF4-FFF2-40B4-BE49-F238E27FC236}">
                <a16:creationId xmlns:a16="http://schemas.microsoft.com/office/drawing/2014/main" id="{6CE89924-14C9-4296-ABC7-EBBCD552A6F7}"/>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3" name="Tekstin paikkamerkki 3">
            <a:extLst>
              <a:ext uri="{FF2B5EF4-FFF2-40B4-BE49-F238E27FC236}">
                <a16:creationId xmlns:a16="http://schemas.microsoft.com/office/drawing/2014/main" id="{15A44A2E-E5B2-4E04-80E5-5944B427B09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34765508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ihealue 1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3112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A64F9AF8-C832-478A-829F-2E210CB7E8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636AAAD7-C136-4D1E-AF2E-19C7BA22B24F}"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4992102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Aihealue 2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9113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27A65451-5E9A-4362-B56B-472B5EC62E1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2627017-FB81-4058-9ED0-07FC92AC8426}"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906428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ihealue 2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27107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a:extLst>
              <a:ext uri="{FF2B5EF4-FFF2-40B4-BE49-F238E27FC236}">
                <a16:creationId xmlns:a16="http://schemas.microsoft.com/office/drawing/2014/main" id="{BC0B16E9-3EA2-4500-8BB5-B551C527566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2AE43D5-4913-4B12-8F1A-D77C9E7C9514}"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053A0229-BAFC-4889-A089-6AEF35F3ACBE}"/>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6350BE49-FFA0-4D9E-B58E-CD5AA20BE065}"/>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20023524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ihealue 2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7693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0B3FA059-4826-40F7-A69B-9938401E2E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B6BA3C4-84FB-423B-A833-1DD13600A864}"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98422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Aihealue 3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666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7FDD56A1-7DDE-49A6-9567-FDDE69B065D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81AB70B-7C2E-4009-96C2-C9329400CE93}"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1107468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tsikkodia_3">
    <p:spTree>
      <p:nvGrpSpPr>
        <p:cNvPr id="1" name=""/>
        <p:cNvGrpSpPr/>
        <p:nvPr/>
      </p:nvGrpSpPr>
      <p:grpSpPr>
        <a:xfrm>
          <a:off x="0" y="0"/>
          <a:ext cx="0" cy="0"/>
          <a:chOff x="0" y="0"/>
          <a:chExt cx="0" cy="0"/>
        </a:xfrm>
      </p:grpSpPr>
      <p:pic>
        <p:nvPicPr>
          <p:cNvPr id="4" name="Kuva 3" descr="Kuva, joka sisältää kohteen Ihmisen kasvot, henkilö, vaate, hymy&#10;&#10;Kuvaus luotu automaattisesti">
            <a:extLst>
              <a:ext uri="{FF2B5EF4-FFF2-40B4-BE49-F238E27FC236}">
                <a16:creationId xmlns:a16="http://schemas.microsoft.com/office/drawing/2014/main" id="{35FE94A8-6D54-C26D-3E65-46A53A879F9E}"/>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r="1383" b="1222"/>
          <a:stretch/>
        </p:blipFill>
        <p:spPr>
          <a:xfrm>
            <a:off x="0" y="-12192"/>
            <a:ext cx="12204000" cy="6876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5101497B-0CC3-0AC6-1F22-56E44175D74B}"/>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284792" y="404368"/>
            <a:ext cx="2641751" cy="1867714"/>
          </a:xfrm>
          <a:prstGeom prst="rect">
            <a:avLst/>
          </a:prstGeom>
        </p:spPr>
      </p:pic>
      <p:sp>
        <p:nvSpPr>
          <p:cNvPr id="11" name="Alaotsikko 2">
            <a:extLst>
              <a:ext uri="{FF2B5EF4-FFF2-40B4-BE49-F238E27FC236}">
                <a16:creationId xmlns:a16="http://schemas.microsoft.com/office/drawing/2014/main" id="{B6620BA0-FA13-A904-BCC3-123312648DA7}"/>
              </a:ext>
            </a:extLst>
          </p:cNvPr>
          <p:cNvSpPr>
            <a:spLocks noGrp="1"/>
          </p:cNvSpPr>
          <p:nvPr>
            <p:ph type="subTitle" idx="1" hasCustomPrompt="1"/>
          </p:nvPr>
        </p:nvSpPr>
        <p:spPr>
          <a:xfrm>
            <a:off x="7396365" y="3449792"/>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12" name="Otsikko 1">
            <a:extLst>
              <a:ext uri="{FF2B5EF4-FFF2-40B4-BE49-F238E27FC236}">
                <a16:creationId xmlns:a16="http://schemas.microsoft.com/office/drawing/2014/main" id="{D24D9ED7-4E46-2F0E-1B28-1D7ED6D58A3A}"/>
              </a:ext>
            </a:extLst>
          </p:cNvPr>
          <p:cNvSpPr>
            <a:spLocks noGrp="1"/>
          </p:cNvSpPr>
          <p:nvPr>
            <p:ph type="ctrTitle" hasCustomPrompt="1"/>
          </p:nvPr>
        </p:nvSpPr>
        <p:spPr>
          <a:xfrm>
            <a:off x="6812379" y="1107615"/>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Lisää otsikko napsauttamalla</a:t>
            </a:r>
          </a:p>
        </p:txBody>
      </p:sp>
    </p:spTree>
    <p:extLst>
      <p:ext uri="{BB962C8B-B14F-4D97-AF65-F5344CB8AC3E}">
        <p14:creationId xmlns:p14="http://schemas.microsoft.com/office/powerpoint/2010/main" val="42736511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ihealue 3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720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259B10F8-B6DC-4B68-998C-8044E40EBE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1CAB408-7E6A-4561-A965-EDE232A4655D}"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2746994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ihealue 3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4201677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C9CF7A8C-CE21-4C7A-A00A-F77810DA90D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149925B-DA76-45EB-B569-214FB920AC23}"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3949959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Aihealue 4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897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descr="Kuva, joka sisältää kohteen nuoli&#10;&#10;Kuvaus luotu automaattisesti">
            <a:extLst>
              <a:ext uri="{FF2B5EF4-FFF2-40B4-BE49-F238E27FC236}">
                <a16:creationId xmlns:a16="http://schemas.microsoft.com/office/drawing/2014/main" id="{87376913-E50E-4387-9E96-C5E04E43BF0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43D3A492-0714-4886-B211-87CBBA09BAA6}"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799792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ihealue 4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07404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nuoli&#10;&#10;Kuvaus luotu automaattisesti">
            <a:extLst>
              <a:ext uri="{FF2B5EF4-FFF2-40B4-BE49-F238E27FC236}">
                <a16:creationId xmlns:a16="http://schemas.microsoft.com/office/drawing/2014/main" id="{8129CBB7-CA95-4DB5-BA28-C36DB59D89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B9DBCB3-DE3E-4E88-A776-8A852B77D7ED}"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42524232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ihealue 4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8361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2D9143B0-048A-4677-98A2-9C8E5C0077F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9726563-8E94-456C-AB1A-BC730F03108B}"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8006913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Aihealue 5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73955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945E664-5DB1-4537-B836-CD53F16D6C5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3655EB4-BFD9-4BD5-B3DE-197159AF66A2}"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1077792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ihealue 5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1202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a:extLst>
              <a:ext uri="{FF2B5EF4-FFF2-40B4-BE49-F238E27FC236}">
                <a16:creationId xmlns:a16="http://schemas.microsoft.com/office/drawing/2014/main" id="{9FCF73B0-126B-453B-9EA7-F5AB6B4232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23F45808-44CB-4246-A8C2-12D8E3391149}"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5189898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ihealue 5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1601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1B3519DA-7254-4EAF-94F9-707A1108726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12B7124-2A20-4688-9892-F5411985B26C}" type="datetime1">
              <a:rPr lang="fi-FI" smtClean="0"/>
              <a:t>26.1.2026</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688660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Nosto/sitaatti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882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AC71C887-6855-4E89-A710-FEA8506D6D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Tree>
    <p:extLst>
      <p:ext uri="{BB962C8B-B14F-4D97-AF65-F5344CB8AC3E}">
        <p14:creationId xmlns:p14="http://schemas.microsoft.com/office/powerpoint/2010/main" val="17283799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osto/sitaatti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7781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C1413E65-1FC2-4106-AEF1-A00456FD8D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E6E2ED78-3D5B-473F-BCF0-111548C534FC}"/>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06D2A48F-A03B-4638-8B46-A1FCCA31D140}"/>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304477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Otsikkodia_4">
    <p:spTree>
      <p:nvGrpSpPr>
        <p:cNvPr id="1" name=""/>
        <p:cNvGrpSpPr/>
        <p:nvPr/>
      </p:nvGrpSpPr>
      <p:grpSpPr>
        <a:xfrm>
          <a:off x="0" y="0"/>
          <a:ext cx="0" cy="0"/>
          <a:chOff x="0" y="0"/>
          <a:chExt cx="0" cy="0"/>
        </a:xfrm>
      </p:grpSpPr>
      <p:pic>
        <p:nvPicPr>
          <p:cNvPr id="4" name="Kuva 3" descr="Kuva, joka sisältää kohteen sateenkaari, piha-, taivas, puu&#10;&#10;Kuvaus luotu automaattisesti">
            <a:extLst>
              <a:ext uri="{FF2B5EF4-FFF2-40B4-BE49-F238E27FC236}">
                <a16:creationId xmlns:a16="http://schemas.microsoft.com/office/drawing/2014/main" id="{8D88EADF-0013-6E43-1E90-2B9207A2FC85}"/>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10770" y="0"/>
            <a:ext cx="1221354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63495" y="1629199"/>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934408"/>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6" name="Kuva 5" descr="Kuva, joka sisältää kohteen symboli, teksti, logo, Fontti&#10;&#10;Kuvaus luotu automaattisesti">
            <a:extLst>
              <a:ext uri="{FF2B5EF4-FFF2-40B4-BE49-F238E27FC236}">
                <a16:creationId xmlns:a16="http://schemas.microsoft.com/office/drawing/2014/main" id="{80E602CD-B23B-B90B-40E8-BD000EF88173}"/>
              </a:ext>
            </a:extLst>
          </p:cNvPr>
          <p:cNvPicPr/>
          <p:nvPr userDrawn="1"/>
        </p:nvPicPr>
        <p:blipFill>
          <a:blip r:embed="rId6">
            <a:extLst>
              <a:ext uri="{28A0092B-C50C-407E-A947-70E740481C1C}">
                <a14:useLocalDpi xmlns:a14="http://schemas.microsoft.com/office/drawing/2010/main" val="0"/>
              </a:ext>
            </a:extLst>
          </a:blip>
          <a:stretch>
            <a:fillRect/>
          </a:stretch>
        </p:blipFill>
        <p:spPr>
          <a:xfrm>
            <a:off x="-211524" y="4918327"/>
            <a:ext cx="2641751" cy="1867714"/>
          </a:xfrm>
          <a:prstGeom prst="rect">
            <a:avLst/>
          </a:prstGeom>
        </p:spPr>
      </p:pic>
    </p:spTree>
    <p:extLst>
      <p:ext uri="{BB962C8B-B14F-4D97-AF65-F5344CB8AC3E}">
        <p14:creationId xmlns:p14="http://schemas.microsoft.com/office/powerpoint/2010/main" val="31130774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Nosto/sitaatti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5376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716E8CF5-015C-4FD3-8BB0-502BF8975E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4A029B14-B9A6-465C-AEAD-B0E93AB26C57}"/>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6CF60A3C-77A3-4EFA-AFCA-36D7D38505CB}"/>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42401742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osto/sitaatti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33620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1AE60BC4-2E88-4DC5-BEA2-177F4586E0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973D34D3-FF24-4809-8B1B-CCA9358AD978}"/>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C729F224-95F0-4AA3-BC77-5EB1336B01E1}"/>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15857643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osto/sitaatti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7873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07BD73EF-DFB1-4164-B80E-F01AD87721B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FF7D5B88-F627-46DD-8F5F-B0121EC06542}"/>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0B051EC7-E656-4E75-891D-E9117789F8BE}"/>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31375694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541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6.1.2026</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pic>
        <p:nvPicPr>
          <p:cNvPr id="6" name="Kuva 5">
            <a:extLst>
              <a:ext uri="{FF2B5EF4-FFF2-40B4-BE49-F238E27FC236}">
                <a16:creationId xmlns:a16="http://schemas.microsoft.com/office/drawing/2014/main" id="{A64BDFE0-23FD-4FB9-868E-275C440A97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061" y="2349000"/>
            <a:ext cx="2489314" cy="2160000"/>
          </a:xfrm>
          <a:prstGeom prst="rect">
            <a:avLst/>
          </a:prstGeom>
        </p:spPr>
      </p:pic>
    </p:spTree>
    <p:extLst>
      <p:ext uri="{BB962C8B-B14F-4D97-AF65-F5344CB8AC3E}">
        <p14:creationId xmlns:p14="http://schemas.microsoft.com/office/powerpoint/2010/main" val="24319590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oppudia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6654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descr="Kuva, joka sisältää kohteen teksti&#10;&#10;Kuvaus luotu automaattisesti">
            <a:extLst>
              <a:ext uri="{FF2B5EF4-FFF2-40B4-BE49-F238E27FC236}">
                <a16:creationId xmlns:a16="http://schemas.microsoft.com/office/drawing/2014/main" id="{F259D9A4-6AF6-4C23-A391-60D757A78FE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619228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ppu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435269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2D5528BD-CFA5-4BDD-A809-8999A6D97C1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378606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177" b="0" i="0">
                <a:solidFill>
                  <a:srgbClr val="404040"/>
                </a:solidFill>
                <a:latin typeface="Microsoft Sans Serif"/>
                <a:cs typeface="Microsoft Sans Serif"/>
              </a:defRPr>
            </a:lvl1pPr>
          </a:lstStyle>
          <a:p>
            <a:endParaRPr/>
          </a:p>
        </p:txBody>
      </p:sp>
      <p:sp>
        <p:nvSpPr>
          <p:cNvPr id="3" name="Holder 3"/>
          <p:cNvSpPr>
            <a:spLocks noGrp="1"/>
          </p:cNvSpPr>
          <p:nvPr>
            <p:ph type="body" idx="1"/>
          </p:nvPr>
        </p:nvSpPr>
        <p:spPr/>
        <p:txBody>
          <a:bodyPr lIns="0" tIns="0" rIns="0" bIns="0"/>
          <a:lstStyle>
            <a:lvl1pPr>
              <a:defRPr sz="2059" b="0" i="0">
                <a:solidFill>
                  <a:srgbClr val="40404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8637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Otsikkodia_5">
    <p:spTree>
      <p:nvGrpSpPr>
        <p:cNvPr id="1" name=""/>
        <p:cNvGrpSpPr/>
        <p:nvPr/>
      </p:nvGrpSpPr>
      <p:grpSpPr>
        <a:xfrm>
          <a:off x="0" y="0"/>
          <a:ext cx="0" cy="0"/>
          <a:chOff x="0" y="0"/>
          <a:chExt cx="0" cy="0"/>
        </a:xfrm>
      </p:grpSpPr>
      <p:pic>
        <p:nvPicPr>
          <p:cNvPr id="4" name="Kuva 3" descr="Kuva, joka sisältää kohteen vaate, Ihmisen kasvot, henkilö, mikrofoni&#10;&#10;Kuvaus luotu automaattisesti">
            <a:extLst>
              <a:ext uri="{FF2B5EF4-FFF2-40B4-BE49-F238E27FC236}">
                <a16:creationId xmlns:a16="http://schemas.microsoft.com/office/drawing/2014/main" id="{21AF3B9C-B46B-6F1A-ABDA-042DE5B5B296}"/>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l="198" t="6031" r="1" b="3093"/>
          <a:stretch/>
        </p:blipFill>
        <p:spPr>
          <a:xfrm>
            <a:off x="24000" y="0"/>
            <a:ext cx="12168000" cy="6876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63495" y="1917888"/>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422309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4AEA68A7-9D5A-BA12-14AF-453D360175B6}"/>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9550249" y="320415"/>
            <a:ext cx="2641751" cy="1867714"/>
          </a:xfrm>
          <a:prstGeom prst="rect">
            <a:avLst/>
          </a:prstGeom>
        </p:spPr>
      </p:pic>
    </p:spTree>
    <p:extLst>
      <p:ext uri="{BB962C8B-B14F-4D97-AF65-F5344CB8AC3E}">
        <p14:creationId xmlns:p14="http://schemas.microsoft.com/office/powerpoint/2010/main" val="3478092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Otsikkodia_5">
    <p:spTree>
      <p:nvGrpSpPr>
        <p:cNvPr id="1" name=""/>
        <p:cNvGrpSpPr/>
        <p:nvPr/>
      </p:nvGrpSpPr>
      <p:grpSpPr>
        <a:xfrm>
          <a:off x="0" y="0"/>
          <a:ext cx="0" cy="0"/>
          <a:chOff x="0" y="0"/>
          <a:chExt cx="0" cy="0"/>
        </a:xfrm>
      </p:grpSpPr>
      <p:pic>
        <p:nvPicPr>
          <p:cNvPr id="4" name="Kuva 3" descr="Kuva, joka sisältää kohteen vaate, Ihmisen kasvot, henkilö, mikrofoni&#10;&#10;Kuvaus luotu automaattisesti">
            <a:extLst>
              <a:ext uri="{FF2B5EF4-FFF2-40B4-BE49-F238E27FC236}">
                <a16:creationId xmlns:a16="http://schemas.microsoft.com/office/drawing/2014/main" id="{21AF3B9C-B46B-6F1A-ABDA-042DE5B5B296}"/>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Lst>
          </a:blip>
          <a:srcRect l="198" t="6031" r="1" b="3093"/>
          <a:stretch/>
        </p:blipFill>
        <p:spPr>
          <a:xfrm>
            <a:off x="24000" y="0"/>
            <a:ext cx="12168000" cy="6876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63495" y="1917888"/>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422309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2302220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Otsikkodia_6">
    <p:spTree>
      <p:nvGrpSpPr>
        <p:cNvPr id="1" name=""/>
        <p:cNvGrpSpPr/>
        <p:nvPr/>
      </p:nvGrpSpPr>
      <p:grpSpPr>
        <a:xfrm>
          <a:off x="0" y="0"/>
          <a:ext cx="0" cy="0"/>
          <a:chOff x="0" y="0"/>
          <a:chExt cx="0" cy="0"/>
        </a:xfrm>
      </p:grpSpPr>
      <p:pic>
        <p:nvPicPr>
          <p:cNvPr id="4" name="Kuva 3" descr="Kuva, joka sisältää kohteen piha-, henkilö, puu, Ihmisen kasvot&#10;&#10;Kuvaus luotu automaattisesti">
            <a:extLst>
              <a:ext uri="{FF2B5EF4-FFF2-40B4-BE49-F238E27FC236}">
                <a16:creationId xmlns:a16="http://schemas.microsoft.com/office/drawing/2014/main" id="{ECA9CF9F-3BEC-BC2E-B000-00C690BFFC8E}"/>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6986597" y="1480271"/>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6986597" y="3785480"/>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A388A71C-0B5D-FE1D-20EA-351F54A214E5}"/>
              </a:ext>
            </a:extLst>
          </p:cNvPr>
          <p:cNvPicPr>
            <a:picLocks noGrp="1" noRo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48768" y="4823676"/>
            <a:ext cx="2641751" cy="1867714"/>
          </a:xfrm>
          <a:prstGeom prst="rect">
            <a:avLst/>
          </a:prstGeom>
        </p:spPr>
      </p:pic>
    </p:spTree>
    <p:extLst>
      <p:ext uri="{BB962C8B-B14F-4D97-AF65-F5344CB8AC3E}">
        <p14:creationId xmlns:p14="http://schemas.microsoft.com/office/powerpoint/2010/main" val="2047599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Otsikkodia_6">
    <p:spTree>
      <p:nvGrpSpPr>
        <p:cNvPr id="1" name=""/>
        <p:cNvGrpSpPr/>
        <p:nvPr/>
      </p:nvGrpSpPr>
      <p:grpSpPr>
        <a:xfrm>
          <a:off x="0" y="0"/>
          <a:ext cx="0" cy="0"/>
          <a:chOff x="0" y="0"/>
          <a:chExt cx="0" cy="0"/>
        </a:xfrm>
      </p:grpSpPr>
      <p:pic>
        <p:nvPicPr>
          <p:cNvPr id="7" name="Kuva 6" descr="Kuva, joka sisältää kohteen henkilö, vaate, piha-, jalkineet&#10;&#10;Tekoälyn generoima sisältö voi olla virheellistä.">
            <a:extLst>
              <a:ext uri="{FF2B5EF4-FFF2-40B4-BE49-F238E27FC236}">
                <a16:creationId xmlns:a16="http://schemas.microsoft.com/office/drawing/2014/main" id="{F2ABB91D-63AA-AA67-76AE-4B006D810D5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70"/>
            <a:ext cx="12192000" cy="685586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6986597" y="1480271"/>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6986597" y="3785480"/>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Tree>
    <p:extLst>
      <p:ext uri="{BB962C8B-B14F-4D97-AF65-F5344CB8AC3E}">
        <p14:creationId xmlns:p14="http://schemas.microsoft.com/office/powerpoint/2010/main" val="15658097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image" Target="../media/image2.jpe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99A5D101-E9BB-4459-960C-90D85F6203E6}"/>
              </a:ext>
            </a:extLst>
          </p:cNvPr>
          <p:cNvGraphicFramePr>
            <a:graphicFrameLocks noChangeAspect="1"/>
          </p:cNvGraphicFramePr>
          <p:nvPr userDrawn="1">
            <p:custDataLst>
              <p:tags r:id="rId58"/>
            </p:custDataLst>
            <p:extLst>
              <p:ext uri="{D42A27DB-BD31-4B8C-83A1-F6EECF244321}">
                <p14:modId xmlns:p14="http://schemas.microsoft.com/office/powerpoint/2010/main" val="300832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21" imgH="423" progId="TCLayout.ActiveDocument.1">
                  <p:embed/>
                </p:oleObj>
              </mc:Choice>
              <mc:Fallback>
                <p:oleObj name="think-cell Slide" r:id="rId59" imgW="421" imgH="423" progId="TCLayout.ActiveDocument.1">
                  <p:embed/>
                  <p:pic>
                    <p:nvPicPr>
                      <p:cNvPr id="8" name="Objekti 7" hidden="1">
                        <a:extLst>
                          <a:ext uri="{FF2B5EF4-FFF2-40B4-BE49-F238E27FC236}">
                            <a16:creationId xmlns:a16="http://schemas.microsoft.com/office/drawing/2014/main" id="{99A5D101-E9BB-4459-960C-90D85F6203E6}"/>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pic>
        <p:nvPicPr>
          <p:cNvPr id="28" name="Kuva 27">
            <a:extLst>
              <a:ext uri="{FF2B5EF4-FFF2-40B4-BE49-F238E27FC236}">
                <a16:creationId xmlns:a16="http://schemas.microsoft.com/office/drawing/2014/main" id="{E9A01564-13CB-4203-95FC-74A153B35C14}"/>
              </a:ext>
            </a:extLst>
          </p:cNvPr>
          <p:cNvPicPr>
            <a:picLocks noChangeAspect="1"/>
          </p:cNvPicPr>
          <p:nvPr userDrawn="1"/>
        </p:nvPicPr>
        <p:blipFill>
          <a:blip r:embed="rId6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on paikkamerkki 1">
            <a:extLst>
              <a:ext uri="{FF2B5EF4-FFF2-40B4-BE49-F238E27FC236}">
                <a16:creationId xmlns:a16="http://schemas.microsoft.com/office/drawing/2014/main" id="{C15BEBDC-D372-439D-BE3F-D0014E9F9AD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04B3C6A2-8A7D-4D37-85A3-E38FFE7580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Päivämäärän paikkamerkki 3">
            <a:extLst>
              <a:ext uri="{FF2B5EF4-FFF2-40B4-BE49-F238E27FC236}">
                <a16:creationId xmlns:a16="http://schemas.microsoft.com/office/drawing/2014/main" id="{64B6028D-345E-4983-9377-3B51E8C6D9CC}"/>
              </a:ext>
            </a:extLst>
          </p:cNvPr>
          <p:cNvSpPr>
            <a:spLocks noGrp="1"/>
          </p:cNvSpPr>
          <p:nvPr>
            <p:ph type="dt" sz="half" idx="2"/>
          </p:nvPr>
        </p:nvSpPr>
        <p:spPr>
          <a:xfrm>
            <a:off x="9206113" y="187392"/>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433DB1DC-11BF-4585-868B-306EA823E62F}" type="datetime1">
              <a:rPr lang="fi-FI" smtClean="0"/>
              <a:t>26.1.2026</a:t>
            </a:fld>
            <a:endParaRPr lang="fi-FI"/>
          </a:p>
        </p:txBody>
      </p:sp>
      <p:sp>
        <p:nvSpPr>
          <p:cNvPr id="6" name="Dian numeron paikkamerkki 5">
            <a:extLst>
              <a:ext uri="{FF2B5EF4-FFF2-40B4-BE49-F238E27FC236}">
                <a16:creationId xmlns:a16="http://schemas.microsoft.com/office/drawing/2014/main" id="{7F7B2924-DE79-4005-AE54-8E1CC0EEDCBD}"/>
              </a:ext>
            </a:extLst>
          </p:cNvPr>
          <p:cNvSpPr>
            <a:spLocks noGrp="1"/>
          </p:cNvSpPr>
          <p:nvPr>
            <p:ph type="sldNum" sz="quarter" idx="4"/>
          </p:nvPr>
        </p:nvSpPr>
        <p:spPr>
          <a:xfrm>
            <a:off x="9206113" y="6311900"/>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F6B37718-6688-4F18-A3A4-5BFEA6AE51A8}" type="slidenum">
              <a:rPr lang="fi-FI" smtClean="0"/>
              <a:pPr/>
              <a:t>‹#›</a:t>
            </a:fld>
            <a:endParaRPr lang="fi-FI"/>
          </a:p>
        </p:txBody>
      </p:sp>
    </p:spTree>
    <p:extLst>
      <p:ext uri="{BB962C8B-B14F-4D97-AF65-F5344CB8AC3E}">
        <p14:creationId xmlns:p14="http://schemas.microsoft.com/office/powerpoint/2010/main" val="1994880774"/>
      </p:ext>
    </p:extLst>
  </p:cSld>
  <p:clrMap bg1="lt1" tx1="dk1" bg2="lt2" tx2="dk2" accent1="accent1" accent2="accent2" accent3="accent3" accent4="accent4" accent5="accent5" accent6="accent6" hlink="hlink" folHlink="folHlink"/>
  <p:sldLayoutIdLst>
    <p:sldLayoutId id="2147483674" r:id="rId1"/>
    <p:sldLayoutId id="2147483660" r:id="rId2"/>
    <p:sldLayoutId id="2147483714" r:id="rId3"/>
    <p:sldLayoutId id="2147483703" r:id="rId4"/>
    <p:sldLayoutId id="2147483704" r:id="rId5"/>
    <p:sldLayoutId id="2147483705" r:id="rId6"/>
    <p:sldLayoutId id="2147483715" r:id="rId7"/>
    <p:sldLayoutId id="2147483706" r:id="rId8"/>
    <p:sldLayoutId id="2147483719" r:id="rId9"/>
    <p:sldLayoutId id="2147483720" r:id="rId10"/>
    <p:sldLayoutId id="2147483707" r:id="rId11"/>
    <p:sldLayoutId id="2147483721" r:id="rId12"/>
    <p:sldLayoutId id="2147483708" r:id="rId13"/>
    <p:sldLayoutId id="2147483718" r:id="rId14"/>
    <p:sldLayoutId id="2147483716" r:id="rId15"/>
    <p:sldLayoutId id="2147483709" r:id="rId16"/>
    <p:sldLayoutId id="2147483710" r:id="rId17"/>
    <p:sldLayoutId id="2147483712" r:id="rId18"/>
    <p:sldLayoutId id="2147483673" r:id="rId19"/>
    <p:sldLayoutId id="2147483711" r:id="rId20"/>
    <p:sldLayoutId id="2147483717" r:id="rId21"/>
    <p:sldLayoutId id="2147483649" r:id="rId22"/>
    <p:sldLayoutId id="2147483650" r:id="rId23"/>
    <p:sldLayoutId id="2147483713" r:id="rId24"/>
    <p:sldLayoutId id="2147483675" r:id="rId25"/>
    <p:sldLayoutId id="2147483652" r:id="rId26"/>
    <p:sldLayoutId id="2147483676" r:id="rId27"/>
    <p:sldLayoutId id="2147483651" r:id="rId28"/>
    <p:sldLayoutId id="2147483679" r:id="rId29"/>
    <p:sldLayoutId id="2147483680" r:id="rId30"/>
    <p:sldLayoutId id="2147483681" r:id="rId31"/>
    <p:sldLayoutId id="2147483682" r:id="rId32"/>
    <p:sldLayoutId id="2147483656" r:id="rId33"/>
    <p:sldLayoutId id="2147483677" r:id="rId34"/>
    <p:sldLayoutId id="2147483678" r:id="rId35"/>
    <p:sldLayoutId id="2147483683" r:id="rId36"/>
    <p:sldLayoutId id="2147483684" r:id="rId37"/>
    <p:sldLayoutId id="2147483685" r:id="rId38"/>
    <p:sldLayoutId id="2147483686" r:id="rId39"/>
    <p:sldLayoutId id="2147483687" r:id="rId40"/>
    <p:sldLayoutId id="2147483688" r:id="rId41"/>
    <p:sldLayoutId id="2147483689" r:id="rId42"/>
    <p:sldLayoutId id="2147483690" r:id="rId43"/>
    <p:sldLayoutId id="2147483691" r:id="rId44"/>
    <p:sldLayoutId id="2147483692" r:id="rId45"/>
    <p:sldLayoutId id="2147483693" r:id="rId46"/>
    <p:sldLayoutId id="2147483694" r:id="rId47"/>
    <p:sldLayoutId id="2147483695" r:id="rId48"/>
    <p:sldLayoutId id="2147483696" r:id="rId49"/>
    <p:sldLayoutId id="2147483697" r:id="rId50"/>
    <p:sldLayoutId id="2147483698" r:id="rId51"/>
    <p:sldLayoutId id="2147483699" r:id="rId52"/>
    <p:sldLayoutId id="2147483702" r:id="rId53"/>
    <p:sldLayoutId id="2147483700" r:id="rId54"/>
    <p:sldLayoutId id="2147483701" r:id="rId55"/>
    <p:sldLayoutId id="2147483723" r:id="rId56"/>
  </p:sldLayoutIdLst>
  <p:hf hdr="0" ftr="0"/>
  <p:txStyles>
    <p:titleStyle>
      <a:lvl1pPr algn="l" defTabSz="914400" rtl="0" eaLnBrk="1" latinLnBrk="0" hangingPunct="1">
        <a:lnSpc>
          <a:spcPct val="90000"/>
        </a:lnSpc>
        <a:spcBef>
          <a:spcPct val="0"/>
        </a:spcBef>
        <a:buNone/>
        <a:defRPr lang="fi-FI" sz="3600" b="1" kern="1200" dirty="0" smtClean="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15.png"/><Relationship Id="rId5" Type="http://schemas.openxmlformats.org/officeDocument/2006/relationships/image" Target="../media/image143.jpg"/><Relationship Id="rId4" Type="http://schemas.openxmlformats.org/officeDocument/2006/relationships/image" Target="../media/image142.jp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4.jpe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146.jpe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7.jpe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6" Type="http://schemas.openxmlformats.org/officeDocument/2006/relationships/image" Target="../media/image74.png"/><Relationship Id="rId21" Type="http://schemas.openxmlformats.org/officeDocument/2006/relationships/image" Target="../media/image69.png"/><Relationship Id="rId42" Type="http://schemas.openxmlformats.org/officeDocument/2006/relationships/image" Target="../media/image90.png"/><Relationship Id="rId47" Type="http://schemas.openxmlformats.org/officeDocument/2006/relationships/image" Target="../media/image95.png"/><Relationship Id="rId63" Type="http://schemas.openxmlformats.org/officeDocument/2006/relationships/image" Target="../media/image111.png"/><Relationship Id="rId68" Type="http://schemas.openxmlformats.org/officeDocument/2006/relationships/image" Target="../media/image116.png"/><Relationship Id="rId16" Type="http://schemas.openxmlformats.org/officeDocument/2006/relationships/image" Target="../media/image64.png"/><Relationship Id="rId11" Type="http://schemas.openxmlformats.org/officeDocument/2006/relationships/image" Target="../media/image59.png"/><Relationship Id="rId24" Type="http://schemas.openxmlformats.org/officeDocument/2006/relationships/image" Target="../media/image72.png"/><Relationship Id="rId32" Type="http://schemas.openxmlformats.org/officeDocument/2006/relationships/image" Target="../media/image80.png"/><Relationship Id="rId37" Type="http://schemas.openxmlformats.org/officeDocument/2006/relationships/image" Target="../media/image85.png"/><Relationship Id="rId40" Type="http://schemas.openxmlformats.org/officeDocument/2006/relationships/image" Target="../media/image88.png"/><Relationship Id="rId45" Type="http://schemas.openxmlformats.org/officeDocument/2006/relationships/image" Target="../media/image93.png"/><Relationship Id="rId53" Type="http://schemas.openxmlformats.org/officeDocument/2006/relationships/image" Target="../media/image101.png"/><Relationship Id="rId58" Type="http://schemas.openxmlformats.org/officeDocument/2006/relationships/image" Target="../media/image106.png"/><Relationship Id="rId66" Type="http://schemas.openxmlformats.org/officeDocument/2006/relationships/image" Target="../media/image114.png"/><Relationship Id="rId74" Type="http://schemas.openxmlformats.org/officeDocument/2006/relationships/image" Target="../media/image122.png"/><Relationship Id="rId79" Type="http://schemas.openxmlformats.org/officeDocument/2006/relationships/image" Target="../media/image127.png"/><Relationship Id="rId5" Type="http://schemas.openxmlformats.org/officeDocument/2006/relationships/image" Target="../media/image53.png"/><Relationship Id="rId61" Type="http://schemas.openxmlformats.org/officeDocument/2006/relationships/image" Target="../media/image109.png"/><Relationship Id="rId19" Type="http://schemas.openxmlformats.org/officeDocument/2006/relationships/image" Target="../media/image67.png"/><Relationship Id="rId14" Type="http://schemas.openxmlformats.org/officeDocument/2006/relationships/image" Target="../media/image62.png"/><Relationship Id="rId22" Type="http://schemas.openxmlformats.org/officeDocument/2006/relationships/image" Target="../media/image70.png"/><Relationship Id="rId27" Type="http://schemas.openxmlformats.org/officeDocument/2006/relationships/image" Target="../media/image75.png"/><Relationship Id="rId30" Type="http://schemas.openxmlformats.org/officeDocument/2006/relationships/image" Target="../media/image78.png"/><Relationship Id="rId35"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image" Target="../media/image96.png"/><Relationship Id="rId56" Type="http://schemas.openxmlformats.org/officeDocument/2006/relationships/image" Target="../media/image104.png"/><Relationship Id="rId64" Type="http://schemas.openxmlformats.org/officeDocument/2006/relationships/image" Target="../media/image112.png"/><Relationship Id="rId69" Type="http://schemas.openxmlformats.org/officeDocument/2006/relationships/image" Target="../media/image117.png"/><Relationship Id="rId77" Type="http://schemas.openxmlformats.org/officeDocument/2006/relationships/image" Target="../media/image125.png"/><Relationship Id="rId8" Type="http://schemas.openxmlformats.org/officeDocument/2006/relationships/image" Target="../media/image56.png"/><Relationship Id="rId51" Type="http://schemas.openxmlformats.org/officeDocument/2006/relationships/image" Target="../media/image99.png"/><Relationship Id="rId72" Type="http://schemas.openxmlformats.org/officeDocument/2006/relationships/image" Target="../media/image120.png"/><Relationship Id="rId3" Type="http://schemas.openxmlformats.org/officeDocument/2006/relationships/image" Target="../media/image51.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33" Type="http://schemas.openxmlformats.org/officeDocument/2006/relationships/image" Target="../media/image81.png"/><Relationship Id="rId38" Type="http://schemas.openxmlformats.org/officeDocument/2006/relationships/image" Target="../media/image86.png"/><Relationship Id="rId46" Type="http://schemas.openxmlformats.org/officeDocument/2006/relationships/image" Target="../media/image94.png"/><Relationship Id="rId59" Type="http://schemas.openxmlformats.org/officeDocument/2006/relationships/image" Target="../media/image107.png"/><Relationship Id="rId67" Type="http://schemas.openxmlformats.org/officeDocument/2006/relationships/image" Target="../media/image115.png"/><Relationship Id="rId20" Type="http://schemas.openxmlformats.org/officeDocument/2006/relationships/image" Target="../media/image68.png"/><Relationship Id="rId41" Type="http://schemas.openxmlformats.org/officeDocument/2006/relationships/image" Target="../media/image89.png"/><Relationship Id="rId54" Type="http://schemas.openxmlformats.org/officeDocument/2006/relationships/image" Target="../media/image102.png"/><Relationship Id="rId62" Type="http://schemas.openxmlformats.org/officeDocument/2006/relationships/image" Target="../media/image110.png"/><Relationship Id="rId70" Type="http://schemas.openxmlformats.org/officeDocument/2006/relationships/image" Target="../media/image118.png"/><Relationship Id="rId75" Type="http://schemas.openxmlformats.org/officeDocument/2006/relationships/image" Target="../media/image123.png"/><Relationship Id="rId1" Type="http://schemas.openxmlformats.org/officeDocument/2006/relationships/slideLayout" Target="../slideLayouts/slideLayout56.xml"/><Relationship Id="rId6" Type="http://schemas.openxmlformats.org/officeDocument/2006/relationships/image" Target="../media/image54.png"/><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png"/><Relationship Id="rId36" Type="http://schemas.openxmlformats.org/officeDocument/2006/relationships/image" Target="../media/image84.png"/><Relationship Id="rId49" Type="http://schemas.openxmlformats.org/officeDocument/2006/relationships/image" Target="../media/image97.png"/><Relationship Id="rId57" Type="http://schemas.openxmlformats.org/officeDocument/2006/relationships/image" Target="../media/image105.png"/><Relationship Id="rId10" Type="http://schemas.openxmlformats.org/officeDocument/2006/relationships/image" Target="../media/image58.png"/><Relationship Id="rId31" Type="http://schemas.openxmlformats.org/officeDocument/2006/relationships/image" Target="../media/image79.png"/><Relationship Id="rId44" Type="http://schemas.openxmlformats.org/officeDocument/2006/relationships/image" Target="../media/image92.png"/><Relationship Id="rId52" Type="http://schemas.openxmlformats.org/officeDocument/2006/relationships/image" Target="../media/image100.png"/><Relationship Id="rId60" Type="http://schemas.openxmlformats.org/officeDocument/2006/relationships/image" Target="../media/image108.png"/><Relationship Id="rId65" Type="http://schemas.openxmlformats.org/officeDocument/2006/relationships/image" Target="../media/image113.png"/><Relationship Id="rId73" Type="http://schemas.openxmlformats.org/officeDocument/2006/relationships/image" Target="../media/image121.png"/><Relationship Id="rId78" Type="http://schemas.openxmlformats.org/officeDocument/2006/relationships/image" Target="../media/image126.png"/><Relationship Id="rId4" Type="http://schemas.openxmlformats.org/officeDocument/2006/relationships/image" Target="../media/image52.png"/><Relationship Id="rId9" Type="http://schemas.openxmlformats.org/officeDocument/2006/relationships/image" Target="../media/image57.png"/><Relationship Id="rId13" Type="http://schemas.openxmlformats.org/officeDocument/2006/relationships/image" Target="../media/image61.png"/><Relationship Id="rId18" Type="http://schemas.openxmlformats.org/officeDocument/2006/relationships/image" Target="../media/image66.png"/><Relationship Id="rId39" Type="http://schemas.openxmlformats.org/officeDocument/2006/relationships/image" Target="../media/image87.png"/><Relationship Id="rId34" Type="http://schemas.openxmlformats.org/officeDocument/2006/relationships/image" Target="../media/image82.png"/><Relationship Id="rId50" Type="http://schemas.openxmlformats.org/officeDocument/2006/relationships/image" Target="../media/image98.png"/><Relationship Id="rId55" Type="http://schemas.openxmlformats.org/officeDocument/2006/relationships/image" Target="../media/image103.png"/><Relationship Id="rId76" Type="http://schemas.openxmlformats.org/officeDocument/2006/relationships/image" Target="../media/image124.png"/><Relationship Id="rId7" Type="http://schemas.openxmlformats.org/officeDocument/2006/relationships/image" Target="../media/image55.png"/><Relationship Id="rId71" Type="http://schemas.openxmlformats.org/officeDocument/2006/relationships/image" Target="../media/image119.png"/><Relationship Id="rId2" Type="http://schemas.openxmlformats.org/officeDocument/2006/relationships/image" Target="../media/image50.jpg"/><Relationship Id="rId29"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image" Target="../media/image133.png"/><Relationship Id="rId1" Type="http://schemas.openxmlformats.org/officeDocument/2006/relationships/slideLayout" Target="../slideLayouts/slideLayout25.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7.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A9226532-131A-286A-C503-2DB22563C646}"/>
              </a:ext>
            </a:extLst>
          </p:cNvPr>
          <p:cNvPicPr>
            <a:picLocks noChangeAspect="1"/>
          </p:cNvPicPr>
          <p:nvPr/>
        </p:nvPicPr>
        <p:blipFill>
          <a:blip r:embed="rId2">
            <a:extLst>
              <a:ext uri="{28A0092B-C50C-407E-A947-70E740481C1C}">
                <a14:useLocalDpi xmlns:a14="http://schemas.microsoft.com/office/drawing/2010/main" val="0"/>
              </a:ext>
            </a:extLst>
          </a:blip>
          <a:srcRect t="7877" b="7877"/>
          <a:stretch/>
        </p:blipFill>
        <p:spPr>
          <a:xfrm>
            <a:off x="1" y="10408"/>
            <a:ext cx="12192000" cy="6847591"/>
          </a:xfrm>
          <a:prstGeom prst="rect">
            <a:avLst/>
          </a:prstGeom>
        </p:spPr>
      </p:pic>
      <p:sp>
        <p:nvSpPr>
          <p:cNvPr id="2" name="Otsikko 1">
            <a:extLst>
              <a:ext uri="{FF2B5EF4-FFF2-40B4-BE49-F238E27FC236}">
                <a16:creationId xmlns:a16="http://schemas.microsoft.com/office/drawing/2014/main" id="{E910D977-B541-3DC9-6A4A-6E1EE8F873DC}"/>
              </a:ext>
            </a:extLst>
          </p:cNvPr>
          <p:cNvSpPr>
            <a:spLocks noGrp="1"/>
          </p:cNvSpPr>
          <p:nvPr>
            <p:ph type="ctrTitle"/>
          </p:nvPr>
        </p:nvSpPr>
        <p:spPr>
          <a:xfrm>
            <a:off x="2281792" y="1890836"/>
            <a:ext cx="7628415" cy="2597856"/>
          </a:xfrm>
          <a:effectLst>
            <a:outerShdw blurRad="88900" dist="50800" dir="5400000" algn="ctr" rotWithShape="0">
              <a:schemeClr val="tx1"/>
            </a:outerShdw>
          </a:effectLst>
        </p:spPr>
        <p:txBody>
          <a:bodyPr>
            <a:noAutofit/>
          </a:bodyPr>
          <a:lstStyle/>
          <a:p>
            <a:r>
              <a:rPr lang="fi-FI" sz="6600" dirty="0"/>
              <a:t>Vahvat ja vaikuttavat kirkot</a:t>
            </a:r>
          </a:p>
        </p:txBody>
      </p:sp>
      <p:sp>
        <p:nvSpPr>
          <p:cNvPr id="3" name="Alaotsikko 2">
            <a:extLst>
              <a:ext uri="{FF2B5EF4-FFF2-40B4-BE49-F238E27FC236}">
                <a16:creationId xmlns:a16="http://schemas.microsoft.com/office/drawing/2014/main" id="{5498FA10-12DF-3836-BA2F-94CC9E0556A2}"/>
              </a:ext>
            </a:extLst>
          </p:cNvPr>
          <p:cNvSpPr>
            <a:spLocks noGrp="1"/>
          </p:cNvSpPr>
          <p:nvPr>
            <p:ph type="subTitle" idx="1"/>
          </p:nvPr>
        </p:nvSpPr>
        <p:spPr>
          <a:xfrm>
            <a:off x="2822120" y="4629150"/>
            <a:ext cx="6547757" cy="994816"/>
          </a:xfrm>
          <a:effectLst>
            <a:outerShdw blurRad="50800" dist="50800" dir="5400000" algn="ctr" rotWithShape="0">
              <a:schemeClr val="tx1"/>
            </a:outerShdw>
          </a:effectLst>
        </p:spPr>
        <p:txBody>
          <a:bodyPr>
            <a:normAutofit/>
          </a:bodyPr>
          <a:lstStyle/>
          <a:p>
            <a:r>
              <a:rPr lang="fi-FI" sz="2800" dirty="0"/>
              <a:t>Näin Lähetysseura toimii maailmalla</a:t>
            </a:r>
            <a:endParaRPr lang="fi-FI" sz="2800" dirty="0">
              <a:solidFill>
                <a:schemeClr val="bg1"/>
              </a:solidFill>
            </a:endParaRPr>
          </a:p>
        </p:txBody>
      </p:sp>
      <p:pic>
        <p:nvPicPr>
          <p:cNvPr id="9" name="Kuva 8" descr="Kuva, joka sisältää kohteen kuvakaappaus, teksti, Grafiikka, muotoilu&#10;&#10;Tekoälyllä luotu sisältö voi olla virheellistä.">
            <a:extLst>
              <a:ext uri="{FF2B5EF4-FFF2-40B4-BE49-F238E27FC236}">
                <a16:creationId xmlns:a16="http://schemas.microsoft.com/office/drawing/2014/main" id="{4D724104-635B-2C51-3675-EBECAE755706}"/>
              </a:ext>
            </a:extLst>
          </p:cNvPr>
          <p:cNvPicPr>
            <a:picLocks noChangeAspect="1"/>
          </p:cNvPicPr>
          <p:nvPr/>
        </p:nvPicPr>
        <p:blipFill>
          <a:blip r:embed="rId3">
            <a:extLst>
              <a:ext uri="{28A0092B-C50C-407E-A947-70E740481C1C}">
                <a14:useLocalDpi xmlns:a14="http://schemas.microsoft.com/office/drawing/2010/main" val="0"/>
              </a:ext>
            </a:extLst>
          </a:blip>
          <a:srcRect t="79540" r="7933"/>
          <a:stretch>
            <a:fillRect/>
          </a:stretch>
        </p:blipFill>
        <p:spPr>
          <a:xfrm>
            <a:off x="0" y="5334000"/>
            <a:ext cx="12192000" cy="1524000"/>
          </a:xfrm>
          <a:prstGeom prst="rect">
            <a:avLst/>
          </a:prstGeom>
        </p:spPr>
      </p:pic>
    </p:spTree>
    <p:extLst>
      <p:ext uri="{BB962C8B-B14F-4D97-AF65-F5344CB8AC3E}">
        <p14:creationId xmlns:p14="http://schemas.microsoft.com/office/powerpoint/2010/main" val="18408903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115B9-C422-F241-26A1-19C2AF80969D}"/>
            </a:ext>
          </a:extLst>
        </p:cNvPr>
        <p:cNvGrpSpPr/>
        <p:nvPr/>
      </p:nvGrpSpPr>
      <p:grpSpPr>
        <a:xfrm>
          <a:off x="0" y="0"/>
          <a:ext cx="0" cy="0"/>
          <a:chOff x="0" y="0"/>
          <a:chExt cx="0" cy="0"/>
        </a:xfrm>
      </p:grpSpPr>
      <p:pic>
        <p:nvPicPr>
          <p:cNvPr id="25" name="Kuva 24" descr="Kuva, joka sisältää kohteen kartta&#10;&#10;Tekoälyn generoima sisältö voi olla virheellistä.">
            <a:extLst>
              <a:ext uri="{FF2B5EF4-FFF2-40B4-BE49-F238E27FC236}">
                <a16:creationId xmlns:a16="http://schemas.microsoft.com/office/drawing/2014/main" id="{E674E3A6-C45E-D7D0-DDCA-58C8812734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Dian numeron paikkamerkki 4">
            <a:extLst>
              <a:ext uri="{FF2B5EF4-FFF2-40B4-BE49-F238E27FC236}">
                <a16:creationId xmlns:a16="http://schemas.microsoft.com/office/drawing/2014/main" id="{19F73D1C-3AAE-D9A7-97D4-935D1670940A}"/>
              </a:ext>
            </a:extLst>
          </p:cNvPr>
          <p:cNvSpPr>
            <a:spLocks noGrp="1"/>
          </p:cNvSpPr>
          <p:nvPr>
            <p:ph type="sldNum" sz="quarter" idx="12"/>
          </p:nvPr>
        </p:nvSpPr>
        <p:spPr/>
        <p:txBody>
          <a:bodyPr/>
          <a:lstStyle/>
          <a:p>
            <a:fld id="{F6B37718-6688-4F18-A3A4-5BFEA6AE51A8}" type="slidenum">
              <a:rPr lang="fi-FI" smtClean="0"/>
              <a:t>10</a:t>
            </a:fld>
            <a:endParaRPr lang="fi-FI"/>
          </a:p>
        </p:txBody>
      </p:sp>
      <p:sp>
        <p:nvSpPr>
          <p:cNvPr id="11" name="Sisällön paikkamerkki 2">
            <a:extLst>
              <a:ext uri="{FF2B5EF4-FFF2-40B4-BE49-F238E27FC236}">
                <a16:creationId xmlns:a16="http://schemas.microsoft.com/office/drawing/2014/main" id="{2C6B973E-D911-36E6-EF1C-4AB7EE206837}"/>
              </a:ext>
            </a:extLst>
          </p:cNvPr>
          <p:cNvSpPr txBox="1">
            <a:spLocks/>
          </p:cNvSpPr>
          <p:nvPr/>
        </p:nvSpPr>
        <p:spPr>
          <a:xfrm>
            <a:off x="-435105" y="876841"/>
            <a:ext cx="3638430" cy="2724945"/>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fi-FI" sz="23900" b="1" dirty="0">
                <a:solidFill>
                  <a:srgbClr val="F53246"/>
                </a:solidFill>
              </a:rPr>
              <a:t>”</a:t>
            </a:r>
          </a:p>
        </p:txBody>
      </p:sp>
      <p:sp>
        <p:nvSpPr>
          <p:cNvPr id="20" name="Sisällön paikkamerkki 2">
            <a:extLst>
              <a:ext uri="{FF2B5EF4-FFF2-40B4-BE49-F238E27FC236}">
                <a16:creationId xmlns:a16="http://schemas.microsoft.com/office/drawing/2014/main" id="{33760A30-3512-C59F-6426-4FCBC4C71BCF}"/>
              </a:ext>
            </a:extLst>
          </p:cNvPr>
          <p:cNvSpPr txBox="1">
            <a:spLocks/>
          </p:cNvSpPr>
          <p:nvPr/>
        </p:nvSpPr>
        <p:spPr>
          <a:xfrm>
            <a:off x="4510362" y="1217532"/>
            <a:ext cx="5761852" cy="238425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fi-FI" b="1" dirty="0">
                <a:latin typeface="Arial"/>
                <a:cs typeface="Arial"/>
              </a:rPr>
              <a:t>”Ensisijaista on seurata Jumalaa, joka</a:t>
            </a:r>
            <a:br>
              <a:rPr lang="fi-FI" b="1" dirty="0">
                <a:latin typeface="Arial"/>
                <a:cs typeface="Arial"/>
              </a:rPr>
            </a:br>
            <a:r>
              <a:rPr lang="fi-FI" b="1" dirty="0">
                <a:latin typeface="Arial"/>
                <a:cs typeface="Arial"/>
              </a:rPr>
              <a:t>on kirkon työn oikea omistaja ja herra. Tarvitsemme kumppanuutta, sillä</a:t>
            </a:r>
            <a:br>
              <a:rPr lang="fi-FI" b="1" dirty="0">
                <a:latin typeface="Arial"/>
                <a:cs typeface="Arial"/>
              </a:rPr>
            </a:br>
            <a:r>
              <a:rPr lang="fi-FI" b="1" dirty="0">
                <a:latin typeface="Arial"/>
                <a:cs typeface="Arial"/>
              </a:rPr>
              <a:t>kenenkään ei ole hyvä kulkea yksin.”</a:t>
            </a:r>
          </a:p>
          <a:p>
            <a:pPr marL="0" indent="0">
              <a:lnSpc>
                <a:spcPct val="100000"/>
              </a:lnSpc>
              <a:buNone/>
            </a:pPr>
            <a:r>
              <a:rPr lang="fi-FI" sz="1600" b="1" i="1" dirty="0">
                <a:latin typeface="Arial"/>
                <a:cs typeface="Arial"/>
              </a:rPr>
              <a:t>Angolan evankelis-luterilaisen kirkon johtava piispa </a:t>
            </a:r>
            <a:r>
              <a:rPr lang="fi-FI" sz="1600" b="1" i="1" dirty="0" err="1">
                <a:latin typeface="Arial"/>
                <a:cs typeface="Arial"/>
              </a:rPr>
              <a:t>António</a:t>
            </a:r>
            <a:r>
              <a:rPr lang="fi-FI" sz="1600" b="1" i="1" dirty="0">
                <a:latin typeface="Arial"/>
                <a:cs typeface="Arial"/>
              </a:rPr>
              <a:t> Alfredo </a:t>
            </a:r>
            <a:r>
              <a:rPr lang="fi-FI" sz="1600" b="1" i="1" dirty="0" err="1">
                <a:latin typeface="Arial"/>
                <a:cs typeface="Arial"/>
              </a:rPr>
              <a:t>Barros</a:t>
            </a:r>
            <a:r>
              <a:rPr lang="fi-FI" sz="1600" b="1" i="1" dirty="0">
                <a:latin typeface="Arial"/>
                <a:cs typeface="Arial"/>
              </a:rPr>
              <a:t> </a:t>
            </a:r>
          </a:p>
        </p:txBody>
      </p:sp>
      <p:sp>
        <p:nvSpPr>
          <p:cNvPr id="21" name="Sisällön paikkamerkki 2">
            <a:extLst>
              <a:ext uri="{FF2B5EF4-FFF2-40B4-BE49-F238E27FC236}">
                <a16:creationId xmlns:a16="http://schemas.microsoft.com/office/drawing/2014/main" id="{DF7E3F66-1AB6-C7D8-CD07-1C22E3D54D5F}"/>
              </a:ext>
            </a:extLst>
          </p:cNvPr>
          <p:cNvSpPr txBox="1">
            <a:spLocks/>
          </p:cNvSpPr>
          <p:nvPr/>
        </p:nvSpPr>
        <p:spPr>
          <a:xfrm>
            <a:off x="2298700" y="4133055"/>
            <a:ext cx="6069777" cy="2724945"/>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buNone/>
            </a:pPr>
            <a:r>
              <a:rPr lang="fi-FI" b="1" dirty="0">
                <a:latin typeface="Arial"/>
                <a:cs typeface="Arial"/>
              </a:rPr>
              <a:t>”Sotien, ilmastonmuutoksen ja köyhyyden aiheuttaman toivottomuuden keskellä kirkot ovat toivon tuojia ja hyvän sanoman välittäjiä.”</a:t>
            </a:r>
          </a:p>
          <a:p>
            <a:pPr marL="0" indent="0" algn="r">
              <a:lnSpc>
                <a:spcPct val="100000"/>
              </a:lnSpc>
              <a:buNone/>
            </a:pPr>
            <a:r>
              <a:rPr lang="fi-FI" sz="1200" b="1" dirty="0">
                <a:latin typeface="Arial"/>
                <a:cs typeface="Arial"/>
              </a:rPr>
              <a:t>	</a:t>
            </a:r>
            <a:r>
              <a:rPr lang="fi-FI" sz="1600" b="1" i="1" dirty="0">
                <a:latin typeface="Arial"/>
                <a:cs typeface="Arial"/>
              </a:rPr>
              <a:t>            Lähetysseuran hankehallinnon</a:t>
            </a:r>
            <a:br>
              <a:rPr lang="fi-FI" sz="1600" b="1" i="1" dirty="0">
                <a:latin typeface="Arial"/>
                <a:cs typeface="Arial"/>
              </a:rPr>
            </a:br>
            <a:r>
              <a:rPr lang="fi-FI" sz="1600" b="1" i="1" dirty="0">
                <a:latin typeface="Arial"/>
                <a:cs typeface="Arial"/>
              </a:rPr>
              <a:t>asiantuntija Maria Stirling </a:t>
            </a:r>
          </a:p>
        </p:txBody>
      </p:sp>
      <p:pic>
        <p:nvPicPr>
          <p:cNvPr id="3" name="Kuva 2">
            <a:extLst>
              <a:ext uri="{FF2B5EF4-FFF2-40B4-BE49-F238E27FC236}">
                <a16:creationId xmlns:a16="http://schemas.microsoft.com/office/drawing/2014/main" id="{020BCF2D-2C49-9650-9AF4-C55803368783}"/>
              </a:ext>
            </a:extLst>
          </p:cNvPr>
          <p:cNvPicPr>
            <a:picLocks noChangeAspect="1"/>
          </p:cNvPicPr>
          <p:nvPr/>
        </p:nvPicPr>
        <p:blipFill>
          <a:blip r:embed="rId4">
            <a:extLst>
              <a:ext uri="{28A0092B-C50C-407E-A947-70E740481C1C}">
                <a14:useLocalDpi xmlns:a14="http://schemas.microsoft.com/office/drawing/2010/main" val="0"/>
              </a:ext>
            </a:extLst>
          </a:blip>
          <a:srcRect t="1020" b="1020"/>
          <a:stretch/>
        </p:blipFill>
        <p:spPr>
          <a:xfrm>
            <a:off x="8545713" y="3796525"/>
            <a:ext cx="2311729" cy="2264584"/>
          </a:xfrm>
          <a:prstGeom prst="ellipse">
            <a:avLst/>
          </a:prstGeom>
          <a:ln w="762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 name="Kuva 8">
            <a:extLst>
              <a:ext uri="{FF2B5EF4-FFF2-40B4-BE49-F238E27FC236}">
                <a16:creationId xmlns:a16="http://schemas.microsoft.com/office/drawing/2014/main" id="{F079748A-CCA3-E0A3-80E6-43D75262A858}"/>
              </a:ext>
            </a:extLst>
          </p:cNvPr>
          <p:cNvPicPr>
            <a:picLocks noChangeAspect="1"/>
          </p:cNvPicPr>
          <p:nvPr/>
        </p:nvPicPr>
        <p:blipFill>
          <a:blip r:embed="rId5">
            <a:extLst>
              <a:ext uri="{28A0092B-C50C-407E-A947-70E740481C1C}">
                <a14:useLocalDpi xmlns:a14="http://schemas.microsoft.com/office/drawing/2010/main" val="0"/>
              </a:ext>
            </a:extLst>
          </a:blip>
          <a:srcRect t="1317" b="1317"/>
          <a:stretch/>
        </p:blipFill>
        <p:spPr>
          <a:xfrm>
            <a:off x="2039322" y="998349"/>
            <a:ext cx="2311728" cy="2253389"/>
          </a:xfrm>
          <a:prstGeom prst="ellipse">
            <a:avLst/>
          </a:prstGeom>
          <a:ln w="762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 name="Kuva 6" descr="Kuva, joka sisältää kohteen symboli, Grafiikka, kuvakaappaus, ympyrä&#10;&#10;Kuvaus luotu automaattisesti">
            <a:extLst>
              <a:ext uri="{FF2B5EF4-FFF2-40B4-BE49-F238E27FC236}">
                <a16:creationId xmlns:a16="http://schemas.microsoft.com/office/drawing/2014/main" id="{215134D5-56B6-5BAA-D969-6053A75A3160}"/>
              </a:ext>
            </a:extLst>
          </p:cNvPr>
          <p:cNvPicPr/>
          <p:nvPr/>
        </p:nvPicPr>
        <p:blipFill>
          <a:blip r:embed="rId6">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spTree>
    <p:extLst>
      <p:ext uri="{BB962C8B-B14F-4D97-AF65-F5344CB8AC3E}">
        <p14:creationId xmlns:p14="http://schemas.microsoft.com/office/powerpoint/2010/main" val="3395260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descr="Kuva, joka sisältää kohteen vaate, henkilö, sisä-, seinä&#10;&#10;Tekoälyllä luotu sisältö voi olla virheellistä.">
            <a:extLst>
              <a:ext uri="{FF2B5EF4-FFF2-40B4-BE49-F238E27FC236}">
                <a16:creationId xmlns:a16="http://schemas.microsoft.com/office/drawing/2014/main" id="{D71BFC9E-6E0E-E59D-5AC3-C11BF50CBE4D}"/>
              </a:ext>
            </a:extLst>
          </p:cNvPr>
          <p:cNvPicPr>
            <a:picLocks noChangeAspect="1"/>
          </p:cNvPicPr>
          <p:nvPr/>
        </p:nvPicPr>
        <p:blipFill>
          <a:blip r:embed="rId2">
            <a:extLst>
              <a:ext uri="{28A0092B-C50C-407E-A947-70E740481C1C}">
                <a14:useLocalDpi xmlns:a14="http://schemas.microsoft.com/office/drawing/2010/main" val="0"/>
              </a:ext>
            </a:extLst>
          </a:blip>
          <a:srcRect t="4473" b="11152"/>
          <a:stretch>
            <a:fillRect/>
          </a:stretch>
        </p:blipFill>
        <p:spPr>
          <a:xfrm>
            <a:off x="0" y="0"/>
            <a:ext cx="12192000" cy="6858000"/>
          </a:xfrm>
          <a:prstGeom prst="rect">
            <a:avLst/>
          </a:prstGeom>
        </p:spPr>
      </p:pic>
      <p:sp>
        <p:nvSpPr>
          <p:cNvPr id="5" name="Dian numeron paikkamerkki 4">
            <a:extLst>
              <a:ext uri="{FF2B5EF4-FFF2-40B4-BE49-F238E27FC236}">
                <a16:creationId xmlns:a16="http://schemas.microsoft.com/office/drawing/2014/main" id="{DF6B4A8F-27AA-A555-7C7C-43FA7990A282}"/>
              </a:ext>
            </a:extLst>
          </p:cNvPr>
          <p:cNvSpPr>
            <a:spLocks noGrp="1"/>
          </p:cNvSpPr>
          <p:nvPr>
            <p:ph type="sldNum" sz="quarter" idx="7"/>
          </p:nvPr>
        </p:nvSpPr>
        <p:spPr/>
        <p:txBody>
          <a:bodyPr/>
          <a:lstStyle/>
          <a:p>
            <a:fld id="{B6F15528-21DE-4FAA-801E-634DDDAF4B2B}" type="slidenum">
              <a:rPr lang="fi-FI" smtClean="0"/>
              <a:t>11</a:t>
            </a:fld>
            <a:endParaRPr lang="fi-FI"/>
          </a:p>
        </p:txBody>
      </p:sp>
      <p:sp>
        <p:nvSpPr>
          <p:cNvPr id="8" name="Tekstiruutu 7">
            <a:extLst>
              <a:ext uri="{FF2B5EF4-FFF2-40B4-BE49-F238E27FC236}">
                <a16:creationId xmlns:a16="http://schemas.microsoft.com/office/drawing/2014/main" id="{AAC07911-BAAB-22EB-EE43-50E8E18FDB58}"/>
              </a:ext>
            </a:extLst>
          </p:cNvPr>
          <p:cNvSpPr txBox="1"/>
          <p:nvPr/>
        </p:nvSpPr>
        <p:spPr>
          <a:xfrm>
            <a:off x="416561" y="5867995"/>
            <a:ext cx="8372992" cy="646331"/>
          </a:xfrm>
          <a:prstGeom prst="rect">
            <a:avLst/>
          </a:prstGeom>
          <a:noFill/>
          <a:effectLst>
            <a:outerShdw blurRad="50800" dist="38100" dir="5400000" algn="ctr" rotWithShape="0">
              <a:schemeClr val="tx1">
                <a:alpha val="62000"/>
              </a:schemeClr>
            </a:outerShdw>
          </a:effectLst>
        </p:spPr>
        <p:txBody>
          <a:bodyPr wrap="square">
            <a:spAutoFit/>
          </a:bodyPr>
          <a:lstStyle/>
          <a:p>
            <a:r>
              <a:rPr lang="fi-FI" b="1" dirty="0">
                <a:solidFill>
                  <a:schemeClr val="bg1"/>
                </a:solidFill>
              </a:rPr>
              <a:t>58-vuotias Emilia </a:t>
            </a:r>
            <a:r>
              <a:rPr lang="fi-FI" b="1" dirty="0" err="1">
                <a:solidFill>
                  <a:schemeClr val="bg1"/>
                </a:solidFill>
              </a:rPr>
              <a:t>Namunyekwa</a:t>
            </a:r>
            <a:r>
              <a:rPr lang="fi-FI" b="1" dirty="0">
                <a:solidFill>
                  <a:schemeClr val="bg1"/>
                </a:solidFill>
              </a:rPr>
              <a:t> työskentelee Angolassa </a:t>
            </a:r>
            <a:r>
              <a:rPr lang="fi-FI" b="1" dirty="0" err="1">
                <a:solidFill>
                  <a:schemeClr val="bg1"/>
                </a:solidFill>
              </a:rPr>
              <a:t>Shangalalan</a:t>
            </a:r>
            <a:r>
              <a:rPr lang="fi-FI" b="1" dirty="0">
                <a:solidFill>
                  <a:schemeClr val="bg1"/>
                </a:solidFill>
              </a:rPr>
              <a:t> raamattuinstituutissa diakonian, psykologian ja sosiologian opettajana.</a:t>
            </a:r>
          </a:p>
        </p:txBody>
      </p:sp>
      <p:pic>
        <p:nvPicPr>
          <p:cNvPr id="9" name="Kuva 8" descr="Kuva, joka sisältää kohteen symboli, teksti, logo, Fontti&#10;&#10;Kuvaus luotu automaattisesti">
            <a:extLst>
              <a:ext uri="{FF2B5EF4-FFF2-40B4-BE49-F238E27FC236}">
                <a16:creationId xmlns:a16="http://schemas.microsoft.com/office/drawing/2014/main" id="{BD770E5F-88A8-10E4-C077-65B2837125AC}"/>
              </a:ext>
            </a:extLst>
          </p:cNvPr>
          <p:cNvPicPr/>
          <p:nvPr/>
        </p:nvPicPr>
        <p:blipFill>
          <a:blip r:embed="rId3">
            <a:extLst>
              <a:ext uri="{28A0092B-C50C-407E-A947-70E740481C1C}">
                <a14:useLocalDpi xmlns:a14="http://schemas.microsoft.com/office/drawing/2010/main" val="0"/>
              </a:ext>
            </a:extLst>
          </a:blip>
          <a:srcRect l="21778" t="7866" r="22120"/>
          <a:stretch>
            <a:fillRect/>
          </a:stretch>
        </p:blipFill>
        <p:spPr>
          <a:xfrm>
            <a:off x="10744200" y="5083505"/>
            <a:ext cx="1341004" cy="1593520"/>
          </a:xfrm>
          <a:prstGeom prst="rect">
            <a:avLst/>
          </a:prstGeom>
        </p:spPr>
      </p:pic>
    </p:spTree>
    <p:extLst>
      <p:ext uri="{BB962C8B-B14F-4D97-AF65-F5344CB8AC3E}">
        <p14:creationId xmlns:p14="http://schemas.microsoft.com/office/powerpoint/2010/main" val="938793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B963F-7300-D021-F11E-2C77F828218C}"/>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81CE85DA-FE75-D2B6-8838-F293D2C65522}"/>
              </a:ext>
            </a:extLst>
          </p:cNvPr>
          <p:cNvSpPr>
            <a:spLocks noGrp="1"/>
          </p:cNvSpPr>
          <p:nvPr>
            <p:ph type="title"/>
          </p:nvPr>
        </p:nvSpPr>
        <p:spPr>
          <a:xfrm>
            <a:off x="2427040" y="643232"/>
            <a:ext cx="6332647" cy="1224147"/>
          </a:xfrm>
        </p:spPr>
        <p:txBody>
          <a:bodyPr/>
          <a:lstStyle/>
          <a:p>
            <a:r>
              <a:rPr lang="fi-FI" dirty="0">
                <a:solidFill>
                  <a:schemeClr val="tx1"/>
                </a:solidFill>
              </a:rPr>
              <a:t>Teologinen linjaus</a:t>
            </a:r>
          </a:p>
        </p:txBody>
      </p:sp>
      <p:sp>
        <p:nvSpPr>
          <p:cNvPr id="3" name="Sisällön paikkamerkki 2">
            <a:extLst>
              <a:ext uri="{FF2B5EF4-FFF2-40B4-BE49-F238E27FC236}">
                <a16:creationId xmlns:a16="http://schemas.microsoft.com/office/drawing/2014/main" id="{677C9E7D-0CA9-26A1-49A1-48C1535210A9}"/>
              </a:ext>
            </a:extLst>
          </p:cNvPr>
          <p:cNvSpPr>
            <a:spLocks noGrp="1"/>
          </p:cNvSpPr>
          <p:nvPr>
            <p:ph sz="half" idx="2"/>
          </p:nvPr>
        </p:nvSpPr>
        <p:spPr>
          <a:xfrm>
            <a:off x="2427040" y="2325687"/>
            <a:ext cx="7922908" cy="4351338"/>
          </a:xfrm>
        </p:spPr>
        <p:txBody>
          <a:bodyPr/>
          <a:lstStyle/>
          <a:p>
            <a:pPr marL="0" indent="0">
              <a:lnSpc>
                <a:spcPct val="100000"/>
              </a:lnSpc>
              <a:buNone/>
            </a:pPr>
            <a:r>
              <a:rPr lang="fi-FI" dirty="0"/>
              <a:t>Kirkon ydintehtävä on julistaa evankeliumin ilosanomaa Kristuksesta, joka lahjoittaa syntien anteeksiantamuksen.</a:t>
            </a:r>
          </a:p>
          <a:p>
            <a:pPr marL="0" indent="0">
              <a:lnSpc>
                <a:spcPct val="100000"/>
              </a:lnSpc>
              <a:buNone/>
            </a:pPr>
            <a:r>
              <a:rPr lang="fi-FI" dirty="0"/>
              <a:t>Kirkko on Kristuksen ruumis, elävä yhteisö, jonka pää on Kristus ja jota Pyhä Henki vahvistaa. Jumalan rakkaus tulee todeksi sekä sanallisessa todistuksessa että lähetystyön ja diakonian tekojen kautta, kun kirkko toimii maailman valona ja suolana.</a:t>
            </a:r>
          </a:p>
          <a:p>
            <a:pPr marL="0" indent="0">
              <a:lnSpc>
                <a:spcPct val="100000"/>
              </a:lnSpc>
              <a:buNone/>
            </a:pPr>
            <a:r>
              <a:rPr lang="fi-FI" dirty="0"/>
              <a:t>Kirkko vahvistuu, kun se toteuttaa tehtäväänsä maailmassa, vie evankeliumia eteenpäin ja toimii toivon ja oikeudenmukaisuuden puolesta.</a:t>
            </a:r>
          </a:p>
        </p:txBody>
      </p:sp>
      <p:sp>
        <p:nvSpPr>
          <p:cNvPr id="5" name="Dian numeron paikkamerkki 4">
            <a:extLst>
              <a:ext uri="{FF2B5EF4-FFF2-40B4-BE49-F238E27FC236}">
                <a16:creationId xmlns:a16="http://schemas.microsoft.com/office/drawing/2014/main" id="{64501535-6DBF-E73B-8CCC-BEE4882FB899}"/>
              </a:ext>
            </a:extLst>
          </p:cNvPr>
          <p:cNvSpPr>
            <a:spLocks noGrp="1"/>
          </p:cNvSpPr>
          <p:nvPr>
            <p:ph type="sldNum" sz="quarter" idx="12"/>
          </p:nvPr>
        </p:nvSpPr>
        <p:spPr/>
        <p:txBody>
          <a:bodyPr/>
          <a:lstStyle/>
          <a:p>
            <a:fld id="{F6B37718-6688-4F18-A3A4-5BFEA6AE51A8}" type="slidenum">
              <a:rPr lang="fi-FI" smtClean="0"/>
              <a:t>12</a:t>
            </a:fld>
            <a:endParaRPr lang="fi-FI"/>
          </a:p>
        </p:txBody>
      </p:sp>
      <p:pic>
        <p:nvPicPr>
          <p:cNvPr id="8" name="Kuva 7" descr="Kuva, joka sisältää kohteen symboli, Grafiikka, kuvakaappaus, ympyrä&#10;&#10;Kuvaus luotu automaattisesti">
            <a:extLst>
              <a:ext uri="{FF2B5EF4-FFF2-40B4-BE49-F238E27FC236}">
                <a16:creationId xmlns:a16="http://schemas.microsoft.com/office/drawing/2014/main" id="{D96C35D0-B0AB-4033-C0FD-096161FCF5DD}"/>
              </a:ext>
            </a:extLst>
          </p:cNvPr>
          <p:cNvPicPr/>
          <p:nvPr/>
        </p:nvPicPr>
        <p:blipFill>
          <a:blip r:embed="rId3">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spTree>
    <p:extLst>
      <p:ext uri="{BB962C8B-B14F-4D97-AF65-F5344CB8AC3E}">
        <p14:creationId xmlns:p14="http://schemas.microsoft.com/office/powerpoint/2010/main" val="1849802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423C1-E42E-3F8D-A670-781C165FE493}"/>
            </a:ext>
          </a:extLst>
        </p:cNvPr>
        <p:cNvGrpSpPr/>
        <p:nvPr/>
      </p:nvGrpSpPr>
      <p:grpSpPr>
        <a:xfrm>
          <a:off x="0" y="0"/>
          <a:ext cx="0" cy="0"/>
          <a:chOff x="0" y="0"/>
          <a:chExt cx="0" cy="0"/>
        </a:xfrm>
      </p:grpSpPr>
      <p:sp>
        <p:nvSpPr>
          <p:cNvPr id="10" name="Sisällön paikkamerkki 2">
            <a:extLst>
              <a:ext uri="{FF2B5EF4-FFF2-40B4-BE49-F238E27FC236}">
                <a16:creationId xmlns:a16="http://schemas.microsoft.com/office/drawing/2014/main" id="{053D0458-5CE5-3F1C-3FB0-339ABCD81677}"/>
              </a:ext>
            </a:extLst>
          </p:cNvPr>
          <p:cNvSpPr txBox="1">
            <a:spLocks/>
          </p:cNvSpPr>
          <p:nvPr/>
        </p:nvSpPr>
        <p:spPr>
          <a:xfrm>
            <a:off x="1940768" y="1962536"/>
            <a:ext cx="6466632" cy="49173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buNone/>
            </a:pPr>
            <a:r>
              <a:rPr lang="fi-FI" sz="1800" dirty="0"/>
              <a:t>Tansanian järviseudulla asuva 53-vuotias Gabriel </a:t>
            </a:r>
            <a:r>
              <a:rPr lang="fi-FI" sz="1800" dirty="0" err="1"/>
              <a:t>Shiga</a:t>
            </a:r>
            <a:r>
              <a:rPr lang="fi-FI" sz="1800" dirty="0"/>
              <a:t> osallistui </a:t>
            </a:r>
            <a:r>
              <a:rPr lang="fi-FI" sz="1800" dirty="0" err="1"/>
              <a:t>Mwanzan</a:t>
            </a:r>
            <a:r>
              <a:rPr lang="fi-FI" sz="1800" dirty="0"/>
              <a:t> hiippakunnan </a:t>
            </a:r>
            <a:r>
              <a:rPr lang="fi-FI" sz="1800" dirty="0" err="1"/>
              <a:t>Sinema</a:t>
            </a:r>
            <a:r>
              <a:rPr lang="fi-FI" sz="1800" dirty="0"/>
              <a:t> Leo -elokuvalähetysiltaan, jossa sadat aikuiset ja lapset kokoontuivat kirkon pihaan katsomaan Jeesuksesta</a:t>
            </a:r>
            <a:br>
              <a:rPr lang="fi-FI" sz="1800" dirty="0"/>
            </a:br>
            <a:r>
              <a:rPr lang="fi-FI" sz="1800" dirty="0"/>
              <a:t>kertovaa elokuvaa. Illasta tuli käännekohta </a:t>
            </a:r>
            <a:r>
              <a:rPr lang="fi-FI" sz="1800" dirty="0" err="1"/>
              <a:t>Shigan</a:t>
            </a:r>
            <a:r>
              <a:rPr lang="fi-FI" sz="1800" dirty="0"/>
              <a:t> elämässä. </a:t>
            </a:r>
          </a:p>
          <a:p>
            <a:pPr marL="0" indent="0" fontAlgn="base">
              <a:lnSpc>
                <a:spcPct val="100000"/>
              </a:lnSpc>
              <a:buNone/>
            </a:pPr>
            <a:r>
              <a:rPr lang="fi-FI" sz="1800" dirty="0"/>
              <a:t>”Olin alkoholisti, mutta kuulin, että Jeesus voi pelastaa myös minut. Hän kutsui minua, ja minä vastasin”, </a:t>
            </a:r>
            <a:r>
              <a:rPr lang="fi-FI" sz="1800" dirty="0" err="1"/>
              <a:t>Shiga</a:t>
            </a:r>
            <a:r>
              <a:rPr lang="fi-FI" sz="1800" dirty="0"/>
              <a:t> kertoo. </a:t>
            </a:r>
          </a:p>
          <a:p>
            <a:pPr marL="0" indent="0" fontAlgn="base">
              <a:lnSpc>
                <a:spcPct val="100000"/>
              </a:lnSpc>
              <a:buNone/>
            </a:pPr>
            <a:r>
              <a:rPr lang="fi-FI" sz="1800" dirty="0"/>
              <a:t>Kastehetki on painunut miehen mieleen tarkasti. Pyhä vesi valui otsalta kirkon betonilattialle, kun piispa piirsi ristinen hänen rintaansa. Kasteessa hän sai myös uuden nimen. </a:t>
            </a:r>
          </a:p>
          <a:p>
            <a:pPr marL="0" indent="0" fontAlgn="base">
              <a:lnSpc>
                <a:spcPct val="100000"/>
              </a:lnSpc>
              <a:buNone/>
            </a:pPr>
            <a:r>
              <a:rPr lang="fi-FI" sz="1800" dirty="0"/>
              <a:t>”Minua kutsuttiin aiemmin </a:t>
            </a:r>
            <a:r>
              <a:rPr lang="fi-FI" sz="1800" dirty="0" err="1"/>
              <a:t>Gomeleksi</a:t>
            </a:r>
            <a:r>
              <a:rPr lang="fi-FI" sz="1800" dirty="0"/>
              <a:t>, mutta kasteessa minusta tuli Gabriel. Olen niin iloinen!”</a:t>
            </a:r>
            <a:r>
              <a:rPr lang="en-US" sz="1800" dirty="0"/>
              <a:t> </a:t>
            </a:r>
            <a:endParaRPr lang="fi-FI" sz="1800" b="1" dirty="0">
              <a:latin typeface="Arial"/>
              <a:cs typeface="Arial"/>
            </a:endParaRPr>
          </a:p>
          <a:p>
            <a:pPr marL="0" indent="0" fontAlgn="base">
              <a:lnSpc>
                <a:spcPct val="100000"/>
              </a:lnSpc>
              <a:buNone/>
            </a:pPr>
            <a:r>
              <a:rPr lang="fi-FI" sz="1800" b="1" i="1" dirty="0">
                <a:latin typeface="Arial"/>
                <a:cs typeface="Arial"/>
              </a:rPr>
              <a:t>			          Gabriel </a:t>
            </a:r>
            <a:r>
              <a:rPr lang="fi-FI" sz="1800" b="1" i="1" dirty="0" err="1">
                <a:latin typeface="Arial"/>
                <a:cs typeface="Arial"/>
              </a:rPr>
              <a:t>Shiga</a:t>
            </a:r>
            <a:r>
              <a:rPr lang="fi-FI" sz="1800" b="1" i="1" dirty="0">
                <a:latin typeface="Arial"/>
                <a:cs typeface="Arial"/>
              </a:rPr>
              <a:t>, Tansania</a:t>
            </a:r>
          </a:p>
        </p:txBody>
      </p:sp>
      <p:sp>
        <p:nvSpPr>
          <p:cNvPr id="7" name="Otsikko 3">
            <a:extLst>
              <a:ext uri="{FF2B5EF4-FFF2-40B4-BE49-F238E27FC236}">
                <a16:creationId xmlns:a16="http://schemas.microsoft.com/office/drawing/2014/main" id="{89BAA269-A4F2-6590-192A-9B2D1CD6D42F}"/>
              </a:ext>
            </a:extLst>
          </p:cNvPr>
          <p:cNvSpPr txBox="1">
            <a:spLocks/>
          </p:cNvSpPr>
          <p:nvPr/>
        </p:nvSpPr>
        <p:spPr>
          <a:xfrm>
            <a:off x="1941285" y="352536"/>
            <a:ext cx="7977415" cy="1323864"/>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fi-FI" sz="3600" b="1" kern="1200">
                <a:solidFill>
                  <a:schemeClr val="tx1">
                    <a:lumMod val="75000"/>
                    <a:lumOff val="25000"/>
                  </a:schemeClr>
                </a:solidFill>
                <a:latin typeface="Arial" panose="020B0604020202020204" pitchFamily="34" charset="0"/>
                <a:ea typeface="+mj-ea"/>
                <a:cs typeface="Arial" panose="020B0604020202020204" pitchFamily="34" charset="0"/>
              </a:defRPr>
            </a:lvl1pPr>
          </a:lstStyle>
          <a:p>
            <a:pPr>
              <a:lnSpc>
                <a:spcPct val="100000"/>
              </a:lnSpc>
            </a:pPr>
            <a:r>
              <a:rPr lang="fi-FI" sz="3000" dirty="0">
                <a:solidFill>
                  <a:schemeClr val="tx1"/>
                </a:solidFill>
              </a:rPr>
              <a:t>Eksynyt lammas löysi kotiin </a:t>
            </a:r>
          </a:p>
        </p:txBody>
      </p:sp>
      <p:pic>
        <p:nvPicPr>
          <p:cNvPr id="15" name="Kuva 14" descr="Kuva, joka sisältää kohteen symboli, Grafiikka, kuvakaappaus, ympyrä&#10;&#10;Kuvaus luotu automaattisesti">
            <a:extLst>
              <a:ext uri="{FF2B5EF4-FFF2-40B4-BE49-F238E27FC236}">
                <a16:creationId xmlns:a16="http://schemas.microsoft.com/office/drawing/2014/main" id="{6FB70BD5-6CBF-5930-A3CD-387A0816D902}"/>
              </a:ext>
            </a:extLst>
          </p:cNvPr>
          <p:cNvPicPr/>
          <p:nvPr/>
        </p:nvPicPr>
        <p:blipFill>
          <a:blip r:embed="rId2">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pic>
        <p:nvPicPr>
          <p:cNvPr id="4" name="Kuva 3" descr="Kuva, joka sisältää kohteen piha-, puu, henkilö, Ihmisen kasvot&#10;&#10;Tekoälyllä luotu sisältö voi olla virheellistä.">
            <a:extLst>
              <a:ext uri="{FF2B5EF4-FFF2-40B4-BE49-F238E27FC236}">
                <a16:creationId xmlns:a16="http://schemas.microsoft.com/office/drawing/2014/main" id="{27441E3C-DA30-7839-CE97-59EF92A38D57}"/>
              </a:ext>
            </a:extLst>
          </p:cNvPr>
          <p:cNvPicPr>
            <a:picLocks noChangeAspect="1"/>
          </p:cNvPicPr>
          <p:nvPr/>
        </p:nvPicPr>
        <p:blipFill>
          <a:blip r:embed="rId3">
            <a:extLst>
              <a:ext uri="{28A0092B-C50C-407E-A947-70E740481C1C}">
                <a14:useLocalDpi xmlns:a14="http://schemas.microsoft.com/office/drawing/2010/main" val="0"/>
              </a:ext>
            </a:extLst>
          </a:blip>
          <a:srcRect l="13315" r="11545"/>
          <a:stretch>
            <a:fillRect/>
          </a:stretch>
        </p:blipFill>
        <p:spPr>
          <a:xfrm>
            <a:off x="8572500" y="2089150"/>
            <a:ext cx="3048000" cy="2705100"/>
          </a:xfrm>
          <a:prstGeom prst="rect">
            <a:avLst/>
          </a:prstGeom>
        </p:spPr>
      </p:pic>
    </p:spTree>
    <p:extLst>
      <p:ext uri="{BB962C8B-B14F-4D97-AF65-F5344CB8AC3E}">
        <p14:creationId xmlns:p14="http://schemas.microsoft.com/office/powerpoint/2010/main" val="3723690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40DDEB-94DE-DC82-C772-3E19E9E2B4DB}"/>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31B5A51E-7AE2-9F02-C558-8BE69AB5E378}"/>
              </a:ext>
            </a:extLst>
          </p:cNvPr>
          <p:cNvSpPr>
            <a:spLocks noGrp="1"/>
          </p:cNvSpPr>
          <p:nvPr>
            <p:ph type="title"/>
          </p:nvPr>
        </p:nvSpPr>
        <p:spPr>
          <a:xfrm>
            <a:off x="5175297" y="886313"/>
            <a:ext cx="5310976" cy="1028043"/>
          </a:xfrm>
        </p:spPr>
        <p:txBody>
          <a:bodyPr/>
          <a:lstStyle/>
          <a:p>
            <a:r>
              <a:rPr lang="fi-FI" dirty="0">
                <a:solidFill>
                  <a:schemeClr val="tx1"/>
                </a:solidFill>
              </a:rPr>
              <a:t>Rukous</a:t>
            </a:r>
          </a:p>
        </p:txBody>
      </p:sp>
      <p:sp>
        <p:nvSpPr>
          <p:cNvPr id="3" name="Sisällön paikkamerkki 2">
            <a:extLst>
              <a:ext uri="{FF2B5EF4-FFF2-40B4-BE49-F238E27FC236}">
                <a16:creationId xmlns:a16="http://schemas.microsoft.com/office/drawing/2014/main" id="{3F609E39-2F14-50CB-2B06-F21A9BEE9C69}"/>
              </a:ext>
            </a:extLst>
          </p:cNvPr>
          <p:cNvSpPr>
            <a:spLocks noGrp="1"/>
          </p:cNvSpPr>
          <p:nvPr>
            <p:ph sz="half" idx="2"/>
          </p:nvPr>
        </p:nvSpPr>
        <p:spPr>
          <a:xfrm>
            <a:off x="5174145" y="2241337"/>
            <a:ext cx="6268555" cy="3941467"/>
          </a:xfrm>
        </p:spPr>
        <p:txBody>
          <a:bodyPr>
            <a:normAutofit/>
          </a:bodyPr>
          <a:lstStyle/>
          <a:p>
            <a:pPr marL="0" indent="0">
              <a:lnSpc>
                <a:spcPct val="110000"/>
              </a:lnSpc>
              <a:buNone/>
            </a:pPr>
            <a:r>
              <a:rPr lang="fi-FI" dirty="0"/>
              <a:t>Rukoilemme yhteistyökirkkojemme puolesta, että ne voisivat kasvaa, vahvistua ja syventyä omassa lähetystehtävässään. Rukoilemme uusien pappien, diakonien ja evankelistojen puolesta, että Kristus varustaisi heidät Pyhällä Hengellä ja kaikella, mitä heidän palvelutyössään tarvitaan. </a:t>
            </a:r>
          </a:p>
          <a:p>
            <a:pPr marL="0" indent="0">
              <a:lnSpc>
                <a:spcPct val="110000"/>
              </a:lnSpc>
              <a:buNone/>
            </a:pPr>
            <a:r>
              <a:rPr lang="fi-FI" dirty="0"/>
              <a:t>Rukoilemme kaikkien vapaaehtoisten puolesta, jotka tekevät monissa kirkoissa diakoniatyötä ja kutsuvat uusia ihmisiä seurakuntaan. Rukoilemme, että kristillisen kasvatus antaa kaikenikäisille mahdollisuuden kasvaa kristittyinä. </a:t>
            </a:r>
          </a:p>
        </p:txBody>
      </p:sp>
      <p:sp>
        <p:nvSpPr>
          <p:cNvPr id="5" name="Dian numeron paikkamerkki 4">
            <a:extLst>
              <a:ext uri="{FF2B5EF4-FFF2-40B4-BE49-F238E27FC236}">
                <a16:creationId xmlns:a16="http://schemas.microsoft.com/office/drawing/2014/main" id="{1FFF19F9-B1F0-7DD5-D332-96FA478FA65C}"/>
              </a:ext>
            </a:extLst>
          </p:cNvPr>
          <p:cNvSpPr>
            <a:spLocks noGrp="1"/>
          </p:cNvSpPr>
          <p:nvPr>
            <p:ph type="sldNum" sz="quarter" idx="12"/>
          </p:nvPr>
        </p:nvSpPr>
        <p:spPr/>
        <p:txBody>
          <a:bodyPr/>
          <a:lstStyle/>
          <a:p>
            <a:fld id="{F6B37718-6688-4F18-A3A4-5BFEA6AE51A8}" type="slidenum">
              <a:rPr lang="fi-FI" smtClean="0"/>
              <a:t>14</a:t>
            </a:fld>
            <a:endParaRPr lang="fi-FI"/>
          </a:p>
        </p:txBody>
      </p:sp>
      <p:pic>
        <p:nvPicPr>
          <p:cNvPr id="6" name="Kuva 5" descr="Kuva, joka sisältää kohteen symboli, Grafiikka, kuvakaappaus, ympyrä&#10;&#10;Kuvaus luotu automaattisesti">
            <a:extLst>
              <a:ext uri="{FF2B5EF4-FFF2-40B4-BE49-F238E27FC236}">
                <a16:creationId xmlns:a16="http://schemas.microsoft.com/office/drawing/2014/main" id="{9AF21E95-ECB4-CDC2-36D0-B90D6A21F17C}"/>
              </a:ext>
            </a:extLst>
          </p:cNvPr>
          <p:cNvPicPr/>
          <p:nvPr/>
        </p:nvPicPr>
        <p:blipFill>
          <a:blip r:embed="rId3">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pic>
        <p:nvPicPr>
          <p:cNvPr id="7" name="Kuva 6" descr="Kuva, joka sisältää kohteen vaate, henkilö, Ihmisen kasvot, sisä-&#10;&#10;Tekoälyllä luotu sisältö voi olla virheellistä.">
            <a:extLst>
              <a:ext uri="{FF2B5EF4-FFF2-40B4-BE49-F238E27FC236}">
                <a16:creationId xmlns:a16="http://schemas.microsoft.com/office/drawing/2014/main" id="{03230D5C-67E7-34AB-BD69-AF3FF98F46CE}"/>
              </a:ext>
            </a:extLst>
          </p:cNvPr>
          <p:cNvPicPr>
            <a:picLocks noChangeAspect="1"/>
          </p:cNvPicPr>
          <p:nvPr/>
        </p:nvPicPr>
        <p:blipFill>
          <a:blip r:embed="rId4">
            <a:extLst>
              <a:ext uri="{28A0092B-C50C-407E-A947-70E740481C1C}">
                <a14:useLocalDpi xmlns:a14="http://schemas.microsoft.com/office/drawing/2010/main" val="0"/>
              </a:ext>
            </a:extLst>
          </a:blip>
          <a:srcRect l="10097" r="3062"/>
          <a:stretch>
            <a:fillRect/>
          </a:stretch>
        </p:blipFill>
        <p:spPr>
          <a:xfrm>
            <a:off x="0" y="0"/>
            <a:ext cx="4470400" cy="6858000"/>
          </a:xfrm>
          <a:prstGeom prst="rect">
            <a:avLst/>
          </a:prstGeom>
        </p:spPr>
      </p:pic>
    </p:spTree>
    <p:extLst>
      <p:ext uri="{BB962C8B-B14F-4D97-AF65-F5344CB8AC3E}">
        <p14:creationId xmlns:p14="http://schemas.microsoft.com/office/powerpoint/2010/main" val="2675900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descr="Kuva, joka sisältää kohteen vaate, Tanssi, henkilö, kansa&#10;&#10;Tekoälyllä luotu sisältö voi olla virheellistä.">
            <a:extLst>
              <a:ext uri="{FF2B5EF4-FFF2-40B4-BE49-F238E27FC236}">
                <a16:creationId xmlns:a16="http://schemas.microsoft.com/office/drawing/2014/main" id="{762CDBB4-5BAE-0448-5ADB-5DFC342FD879}"/>
              </a:ext>
            </a:extLst>
          </p:cNvPr>
          <p:cNvPicPr>
            <a:picLocks noChangeAspect="1"/>
          </p:cNvPicPr>
          <p:nvPr/>
        </p:nvPicPr>
        <p:blipFill>
          <a:blip r:embed="rId2">
            <a:extLst>
              <a:ext uri="{28A0092B-C50C-407E-A947-70E740481C1C}">
                <a14:useLocalDpi xmlns:a14="http://schemas.microsoft.com/office/drawing/2010/main" val="0"/>
              </a:ext>
            </a:extLst>
          </a:blip>
          <a:srcRect t="8611" b="17672"/>
          <a:stretch>
            <a:fillRect/>
          </a:stretch>
        </p:blipFill>
        <p:spPr>
          <a:xfrm>
            <a:off x="1" y="0"/>
            <a:ext cx="12191999" cy="6858000"/>
          </a:xfrm>
          <a:prstGeom prst="rect">
            <a:avLst/>
          </a:prstGeom>
        </p:spPr>
      </p:pic>
      <p:sp>
        <p:nvSpPr>
          <p:cNvPr id="8" name="Tekstiruutu 7">
            <a:extLst>
              <a:ext uri="{FF2B5EF4-FFF2-40B4-BE49-F238E27FC236}">
                <a16:creationId xmlns:a16="http://schemas.microsoft.com/office/drawing/2014/main" id="{945F200C-FC6D-2B4B-1B4A-E4091F51F110}"/>
              </a:ext>
            </a:extLst>
          </p:cNvPr>
          <p:cNvSpPr txBox="1"/>
          <p:nvPr/>
        </p:nvSpPr>
        <p:spPr>
          <a:xfrm>
            <a:off x="544830" y="5889460"/>
            <a:ext cx="5551170" cy="646331"/>
          </a:xfrm>
          <a:prstGeom prst="rect">
            <a:avLst/>
          </a:prstGeom>
          <a:noFill/>
          <a:effectLst>
            <a:outerShdw blurRad="50800" dist="38100" dir="5400000" algn="ctr" rotWithShape="0">
              <a:schemeClr val="tx1">
                <a:alpha val="62000"/>
              </a:schemeClr>
            </a:outerShdw>
          </a:effectLst>
        </p:spPr>
        <p:txBody>
          <a:bodyPr wrap="square">
            <a:spAutoFit/>
          </a:bodyPr>
          <a:lstStyle/>
          <a:p>
            <a:r>
              <a:rPr lang="fi-FI" b="1" dirty="0">
                <a:solidFill>
                  <a:schemeClr val="bg1"/>
                </a:solidFill>
              </a:rPr>
              <a:t>Senegalin luterilaisen kirkon varapresidentti François </a:t>
            </a:r>
            <a:r>
              <a:rPr lang="fi-FI" b="1" dirty="0" err="1">
                <a:solidFill>
                  <a:schemeClr val="bg1"/>
                </a:solidFill>
              </a:rPr>
              <a:t>Thiam</a:t>
            </a:r>
            <a:r>
              <a:rPr lang="fi-FI" b="1" dirty="0">
                <a:solidFill>
                  <a:schemeClr val="bg1"/>
                </a:solidFill>
              </a:rPr>
              <a:t> tanssii kirkon juhlilla.</a:t>
            </a:r>
          </a:p>
        </p:txBody>
      </p:sp>
      <p:pic>
        <p:nvPicPr>
          <p:cNvPr id="2" name="Kuva 1" descr="Kuva, joka sisältää kohteen symboli, Grafiikka, kuvakaappaus, ympyrä&#10;&#10;Kuvaus luotu automaattisesti">
            <a:extLst>
              <a:ext uri="{FF2B5EF4-FFF2-40B4-BE49-F238E27FC236}">
                <a16:creationId xmlns:a16="http://schemas.microsoft.com/office/drawing/2014/main" id="{AC9634BD-A458-DF03-0F70-1DCE2CF092E7}"/>
              </a:ext>
            </a:extLst>
          </p:cNvPr>
          <p:cNvPicPr/>
          <p:nvPr/>
        </p:nvPicPr>
        <p:blipFill>
          <a:blip r:embed="rId3">
            <a:extLst>
              <a:ext uri="{28A0092B-C50C-407E-A947-70E740481C1C}">
                <a14:useLocalDpi xmlns:a14="http://schemas.microsoft.com/office/drawing/2010/main" val="0"/>
              </a:ext>
            </a:extLst>
          </a:blip>
          <a:stretch>
            <a:fillRect/>
          </a:stretch>
        </p:blipFill>
        <p:spPr>
          <a:xfrm>
            <a:off x="10887807" y="5215537"/>
            <a:ext cx="968000" cy="1224147"/>
          </a:xfrm>
          <a:prstGeom prst="rect">
            <a:avLst/>
          </a:prstGeom>
        </p:spPr>
      </p:pic>
    </p:spTree>
    <p:extLst>
      <p:ext uri="{BB962C8B-B14F-4D97-AF65-F5344CB8AC3E}">
        <p14:creationId xmlns:p14="http://schemas.microsoft.com/office/powerpoint/2010/main" val="1281614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D42C3-AE8A-F46A-8882-A3B94FC44193}"/>
            </a:ext>
          </a:extLst>
        </p:cNvPr>
        <p:cNvGrpSpPr/>
        <p:nvPr/>
      </p:nvGrpSpPr>
      <p:grpSpPr>
        <a:xfrm>
          <a:off x="0" y="0"/>
          <a:ext cx="0" cy="0"/>
          <a:chOff x="0" y="0"/>
          <a:chExt cx="0" cy="0"/>
        </a:xfrm>
      </p:grpSpPr>
    </p:spTree>
    <p:extLst>
      <p:ext uri="{BB962C8B-B14F-4D97-AF65-F5344CB8AC3E}">
        <p14:creationId xmlns:p14="http://schemas.microsoft.com/office/powerpoint/2010/main" val="1507974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168F5-6BCA-1E3D-8F15-D2C4718C3D2E}"/>
            </a:ext>
          </a:extLst>
        </p:cNvPr>
        <p:cNvGrpSpPr/>
        <p:nvPr/>
      </p:nvGrpSpPr>
      <p:grpSpPr>
        <a:xfrm>
          <a:off x="0" y="0"/>
          <a:ext cx="0" cy="0"/>
          <a:chOff x="0" y="0"/>
          <a:chExt cx="0" cy="0"/>
        </a:xfrm>
      </p:grpSpPr>
      <p:sp>
        <p:nvSpPr>
          <p:cNvPr id="5" name="Tekstiruutu 4">
            <a:extLst>
              <a:ext uri="{FF2B5EF4-FFF2-40B4-BE49-F238E27FC236}">
                <a16:creationId xmlns:a16="http://schemas.microsoft.com/office/drawing/2014/main" id="{A6556B6C-F97A-FEF5-5D95-0971D316AF5B}"/>
              </a:ext>
            </a:extLst>
          </p:cNvPr>
          <p:cNvSpPr txBox="1"/>
          <p:nvPr/>
        </p:nvSpPr>
        <p:spPr>
          <a:xfrm>
            <a:off x="2794120" y="2310088"/>
            <a:ext cx="6042540" cy="3785652"/>
          </a:xfrm>
          <a:prstGeom prst="rect">
            <a:avLst/>
          </a:prstGeom>
          <a:noFill/>
        </p:spPr>
        <p:txBody>
          <a:bodyPr wrap="square">
            <a:spAutoFit/>
          </a:bodyPr>
          <a:lstStyle/>
          <a:p>
            <a:pPr marL="285750" indent="-285750">
              <a:buFont typeface="Arial" panose="020B0604020202020204" pitchFamily="34" charset="0"/>
              <a:buChar char="•"/>
            </a:pPr>
            <a:r>
              <a:rPr lang="fi-FI" sz="2000" dirty="0"/>
              <a:t>Tuemme paikallisia kirkkoja niiden työssä</a:t>
            </a:r>
          </a:p>
          <a:p>
            <a:pPr marL="285750" indent="-285750">
              <a:buFont typeface="Arial" panose="020B0604020202020204" pitchFamily="34" charset="0"/>
              <a:buChar char="•"/>
            </a:pPr>
            <a:endParaRPr lang="fi-FI" sz="2000" dirty="0"/>
          </a:p>
          <a:p>
            <a:pPr marL="285750" indent="-285750">
              <a:buFont typeface="Arial" panose="020B0604020202020204" pitchFamily="34" charset="0"/>
              <a:buChar char="•"/>
            </a:pPr>
            <a:r>
              <a:rPr lang="fi-FI" sz="2000" dirty="0"/>
              <a:t>Edistämme haavoittuvassa asemassa olevien ihmisten oikeuksia</a:t>
            </a:r>
          </a:p>
          <a:p>
            <a:pPr marL="285750" indent="-285750">
              <a:buFont typeface="Arial" panose="020B0604020202020204" pitchFamily="34" charset="0"/>
              <a:buChar char="•"/>
            </a:pPr>
            <a:endParaRPr lang="fi-FI" sz="2000" dirty="0"/>
          </a:p>
          <a:p>
            <a:pPr marL="285750" indent="-285750">
              <a:buFont typeface="Arial" panose="020B0604020202020204" pitchFamily="34" charset="0"/>
              <a:buChar char="•"/>
            </a:pPr>
            <a:r>
              <a:rPr lang="fi-FI" sz="2000" dirty="0"/>
              <a:t>Teemme työtä rauhan ja sovinnon puolesta</a:t>
            </a:r>
          </a:p>
          <a:p>
            <a:pPr marL="285750" indent="-285750">
              <a:buFont typeface="Arial" panose="020B0604020202020204" pitchFamily="34" charset="0"/>
              <a:buChar char="•"/>
            </a:pPr>
            <a:endParaRPr lang="fi-FI" sz="2000" dirty="0"/>
          </a:p>
          <a:p>
            <a:pPr marL="285750" indent="-285750">
              <a:buFont typeface="Arial" panose="020B0604020202020204" pitchFamily="34" charset="0"/>
              <a:buChar char="•"/>
            </a:pPr>
            <a:r>
              <a:rPr lang="fi-FI" sz="2000" dirty="0"/>
              <a:t>Humanitaarinen apu: Tukea kriisin sattuessa ja koulutusta varautumiseen</a:t>
            </a:r>
          </a:p>
          <a:p>
            <a:pPr marL="285750" indent="-285750">
              <a:buFont typeface="Arial" panose="020B0604020202020204" pitchFamily="34" charset="0"/>
              <a:buChar char="•"/>
            </a:pPr>
            <a:endParaRPr lang="fi-FI" sz="2000" dirty="0"/>
          </a:p>
          <a:p>
            <a:pPr marL="285750" indent="-285750">
              <a:buFont typeface="Arial" panose="020B0604020202020204" pitchFamily="34" charset="0"/>
              <a:buChar char="•"/>
            </a:pPr>
            <a:r>
              <a:rPr lang="fi-FI" sz="2000" dirty="0"/>
              <a:t>Kotimaan työ: Lähetyskasvatus, nuorisotyö, seurakuntavierailut, vaikuttamistyö jne. </a:t>
            </a:r>
          </a:p>
        </p:txBody>
      </p:sp>
      <p:sp>
        <p:nvSpPr>
          <p:cNvPr id="23" name="Otsikko 22">
            <a:extLst>
              <a:ext uri="{FF2B5EF4-FFF2-40B4-BE49-F238E27FC236}">
                <a16:creationId xmlns:a16="http://schemas.microsoft.com/office/drawing/2014/main" id="{7DBC2B0C-04CA-0898-CE1A-D454F4FB11FC}"/>
              </a:ext>
            </a:extLst>
          </p:cNvPr>
          <p:cNvSpPr>
            <a:spLocks noGrp="1"/>
          </p:cNvSpPr>
          <p:nvPr>
            <p:ph type="title"/>
          </p:nvPr>
        </p:nvSpPr>
        <p:spPr>
          <a:xfrm>
            <a:off x="1896291" y="940117"/>
            <a:ext cx="9882321" cy="1009651"/>
          </a:xfrm>
        </p:spPr>
        <p:txBody>
          <a:bodyPr>
            <a:normAutofit fontScale="90000"/>
          </a:bodyPr>
          <a:lstStyle/>
          <a:p>
            <a:r>
              <a:rPr lang="fi-FI">
                <a:solidFill>
                  <a:schemeClr val="tx1"/>
                </a:solidFill>
              </a:rPr>
              <a:t>Lähetysseura on kirkon lähetysjärjestö ja</a:t>
            </a:r>
            <a:br>
              <a:rPr lang="fi-FI">
                <a:solidFill>
                  <a:schemeClr val="tx1"/>
                </a:solidFill>
              </a:rPr>
            </a:br>
            <a:r>
              <a:rPr lang="fi-FI">
                <a:solidFill>
                  <a:schemeClr val="tx1"/>
                </a:solidFill>
              </a:rPr>
              <a:t>yksi Suomen suurimmista kehitysjärjestöistä</a:t>
            </a:r>
            <a:endParaRPr lang="fi-FI" dirty="0">
              <a:solidFill>
                <a:schemeClr val="tx1"/>
              </a:solidFill>
            </a:endParaRPr>
          </a:p>
        </p:txBody>
      </p:sp>
      <p:pic>
        <p:nvPicPr>
          <p:cNvPr id="27" name="Kuva 26" descr="Kuva, joka sisältää kohteen symboli, Grafiikka, kuvakaappaus, ympyrä&#10;&#10;Kuvaus luotu automaattisesti">
            <a:extLst>
              <a:ext uri="{FF2B5EF4-FFF2-40B4-BE49-F238E27FC236}">
                <a16:creationId xmlns:a16="http://schemas.microsoft.com/office/drawing/2014/main" id="{D2FC42AA-8F48-607F-C988-DFAB588C28D1}"/>
              </a:ext>
            </a:extLst>
          </p:cNvPr>
          <p:cNvPicPr/>
          <p:nvPr/>
        </p:nvPicPr>
        <p:blipFill>
          <a:blip r:embed="rId2">
            <a:extLst>
              <a:ext uri="{28A0092B-C50C-407E-A947-70E740481C1C}">
                <a14:useLocalDpi xmlns:a14="http://schemas.microsoft.com/office/drawing/2010/main" val="0"/>
              </a:ext>
            </a:extLst>
          </a:blip>
          <a:stretch>
            <a:fillRect/>
          </a:stretch>
        </p:blipFill>
        <p:spPr>
          <a:xfrm>
            <a:off x="10810612" y="5283200"/>
            <a:ext cx="968000" cy="1224147"/>
          </a:xfrm>
          <a:prstGeom prst="rect">
            <a:avLst/>
          </a:prstGeom>
        </p:spPr>
      </p:pic>
    </p:spTree>
    <p:extLst>
      <p:ext uri="{BB962C8B-B14F-4D97-AF65-F5344CB8AC3E}">
        <p14:creationId xmlns:p14="http://schemas.microsoft.com/office/powerpoint/2010/main" val="801531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1999" cy="6856207"/>
            <a:chOff x="0" y="0"/>
            <a:chExt cx="10363199" cy="5827776"/>
          </a:xfrm>
        </p:grpSpPr>
        <p:pic>
          <p:nvPicPr>
            <p:cNvPr id="3" name="object 3"/>
            <p:cNvPicPr/>
            <p:nvPr/>
          </p:nvPicPr>
          <p:blipFill>
            <a:blip r:embed="rId2" cstate="print"/>
            <a:stretch>
              <a:fillRect/>
            </a:stretch>
          </p:blipFill>
          <p:spPr>
            <a:xfrm>
              <a:off x="0" y="0"/>
              <a:ext cx="10363199" cy="5827776"/>
            </a:xfrm>
            <a:prstGeom prst="rect">
              <a:avLst/>
            </a:prstGeom>
          </p:spPr>
        </p:pic>
        <p:sp>
          <p:nvSpPr>
            <p:cNvPr id="4" name="object 4"/>
            <p:cNvSpPr/>
            <p:nvPr/>
          </p:nvSpPr>
          <p:spPr>
            <a:xfrm>
              <a:off x="599122" y="785335"/>
              <a:ext cx="9157335" cy="4857750"/>
            </a:xfrm>
            <a:custGeom>
              <a:avLst/>
              <a:gdLst/>
              <a:ahLst/>
              <a:cxnLst/>
              <a:rect l="l" t="t" r="r" b="b"/>
              <a:pathLst>
                <a:path w="9157335" h="4857750">
                  <a:moveTo>
                    <a:pt x="9156858" y="4857749"/>
                  </a:moveTo>
                  <a:lnTo>
                    <a:pt x="0" y="4857749"/>
                  </a:lnTo>
                  <a:lnTo>
                    <a:pt x="0" y="0"/>
                  </a:lnTo>
                  <a:lnTo>
                    <a:pt x="9156858" y="0"/>
                  </a:lnTo>
                  <a:lnTo>
                    <a:pt x="9156858" y="4857749"/>
                  </a:lnTo>
                  <a:close/>
                </a:path>
              </a:pathLst>
            </a:custGeom>
            <a:solidFill>
              <a:srgbClr val="FFFFFF">
                <a:alpha val="60389"/>
              </a:srgbClr>
            </a:solidFill>
          </p:spPr>
          <p:txBody>
            <a:bodyPr wrap="square" lIns="0" tIns="0" rIns="0" bIns="0" rtlCol="0"/>
            <a:lstStyle/>
            <a:p>
              <a:endParaRPr sz="2118" dirty="0"/>
            </a:p>
          </p:txBody>
        </p:sp>
        <p:pic>
          <p:nvPicPr>
            <p:cNvPr id="5" name="object 5"/>
            <p:cNvPicPr/>
            <p:nvPr/>
          </p:nvPicPr>
          <p:blipFill>
            <a:blip r:embed="rId3" cstate="print"/>
            <a:stretch>
              <a:fillRect/>
            </a:stretch>
          </p:blipFill>
          <p:spPr>
            <a:xfrm>
              <a:off x="5520503" y="1145076"/>
              <a:ext cx="836551" cy="1055831"/>
            </a:xfrm>
            <a:prstGeom prst="rect">
              <a:avLst/>
            </a:prstGeom>
          </p:spPr>
        </p:pic>
        <p:sp>
          <p:nvSpPr>
            <p:cNvPr id="6" name="object 6"/>
            <p:cNvSpPr/>
            <p:nvPr/>
          </p:nvSpPr>
          <p:spPr>
            <a:xfrm>
              <a:off x="918527" y="1746630"/>
              <a:ext cx="413384" cy="300990"/>
            </a:xfrm>
            <a:custGeom>
              <a:avLst/>
              <a:gdLst/>
              <a:ahLst/>
              <a:cxnLst/>
              <a:rect l="l" t="t" r="r" b="b"/>
              <a:pathLst>
                <a:path w="413384" h="300989">
                  <a:moveTo>
                    <a:pt x="102870" y="163880"/>
                  </a:moveTo>
                  <a:lnTo>
                    <a:pt x="86436" y="163880"/>
                  </a:lnTo>
                  <a:lnTo>
                    <a:pt x="86436" y="300913"/>
                  </a:lnTo>
                  <a:lnTo>
                    <a:pt x="102870" y="300913"/>
                  </a:lnTo>
                  <a:lnTo>
                    <a:pt x="102870" y="163880"/>
                  </a:lnTo>
                  <a:close/>
                </a:path>
                <a:path w="413384" h="300989">
                  <a:moveTo>
                    <a:pt x="240322" y="122288"/>
                  </a:moveTo>
                  <a:lnTo>
                    <a:pt x="239623" y="120142"/>
                  </a:lnTo>
                  <a:lnTo>
                    <a:pt x="237947" y="118300"/>
                  </a:lnTo>
                  <a:lnTo>
                    <a:pt x="212394" y="80111"/>
                  </a:lnTo>
                  <a:lnTo>
                    <a:pt x="186461" y="42214"/>
                  </a:lnTo>
                  <a:lnTo>
                    <a:pt x="155676" y="11125"/>
                  </a:lnTo>
                  <a:lnTo>
                    <a:pt x="116344" y="88"/>
                  </a:lnTo>
                  <a:lnTo>
                    <a:pt x="57048" y="101"/>
                  </a:lnTo>
                  <a:lnTo>
                    <a:pt x="53340" y="482"/>
                  </a:lnTo>
                  <a:lnTo>
                    <a:pt x="49669" y="1244"/>
                  </a:lnTo>
                  <a:lnTo>
                    <a:pt x="42583" y="2540"/>
                  </a:lnTo>
                  <a:lnTo>
                    <a:pt x="9118" y="28206"/>
                  </a:lnTo>
                  <a:lnTo>
                    <a:pt x="0" y="55054"/>
                  </a:lnTo>
                  <a:lnTo>
                    <a:pt x="190" y="62255"/>
                  </a:lnTo>
                  <a:lnTo>
                    <a:pt x="355" y="110109"/>
                  </a:lnTo>
                  <a:lnTo>
                    <a:pt x="190" y="126060"/>
                  </a:lnTo>
                  <a:lnTo>
                    <a:pt x="228" y="130784"/>
                  </a:lnTo>
                  <a:lnTo>
                    <a:pt x="977" y="135394"/>
                  </a:lnTo>
                  <a:lnTo>
                    <a:pt x="26301" y="167538"/>
                  </a:lnTo>
                  <a:lnTo>
                    <a:pt x="32016" y="169430"/>
                  </a:lnTo>
                  <a:lnTo>
                    <a:pt x="33032" y="170103"/>
                  </a:lnTo>
                  <a:lnTo>
                    <a:pt x="34505" y="172262"/>
                  </a:lnTo>
                  <a:lnTo>
                    <a:pt x="34785" y="173456"/>
                  </a:lnTo>
                  <a:lnTo>
                    <a:pt x="34594" y="174752"/>
                  </a:lnTo>
                  <a:lnTo>
                    <a:pt x="34594" y="300812"/>
                  </a:lnTo>
                  <a:lnTo>
                    <a:pt x="50977" y="300812"/>
                  </a:lnTo>
                  <a:lnTo>
                    <a:pt x="50977" y="74472"/>
                  </a:lnTo>
                  <a:lnTo>
                    <a:pt x="51155" y="73355"/>
                  </a:lnTo>
                  <a:lnTo>
                    <a:pt x="51155" y="72237"/>
                  </a:lnTo>
                  <a:lnTo>
                    <a:pt x="50977" y="71120"/>
                  </a:lnTo>
                  <a:lnTo>
                    <a:pt x="50673" y="70269"/>
                  </a:lnTo>
                  <a:lnTo>
                    <a:pt x="49720" y="69062"/>
                  </a:lnTo>
                  <a:lnTo>
                    <a:pt x="34442" y="69062"/>
                  </a:lnTo>
                  <a:lnTo>
                    <a:pt x="34442" y="152107"/>
                  </a:lnTo>
                  <a:lnTo>
                    <a:pt x="29527" y="150329"/>
                  </a:lnTo>
                  <a:lnTo>
                    <a:pt x="25476" y="147370"/>
                  </a:lnTo>
                  <a:lnTo>
                    <a:pt x="19113" y="139065"/>
                  </a:lnTo>
                  <a:lnTo>
                    <a:pt x="17297" y="134378"/>
                  </a:lnTo>
                  <a:lnTo>
                    <a:pt x="16865" y="129171"/>
                  </a:lnTo>
                  <a:lnTo>
                    <a:pt x="16878" y="55308"/>
                  </a:lnTo>
                  <a:lnTo>
                    <a:pt x="40779" y="20993"/>
                  </a:lnTo>
                  <a:lnTo>
                    <a:pt x="55448" y="16662"/>
                  </a:lnTo>
                  <a:lnTo>
                    <a:pt x="123621" y="16700"/>
                  </a:lnTo>
                  <a:lnTo>
                    <a:pt x="163423" y="39865"/>
                  </a:lnTo>
                  <a:lnTo>
                    <a:pt x="190931" y="77698"/>
                  </a:lnTo>
                  <a:lnTo>
                    <a:pt x="219113" y="119799"/>
                  </a:lnTo>
                  <a:lnTo>
                    <a:pt x="220116" y="122656"/>
                  </a:lnTo>
                  <a:lnTo>
                    <a:pt x="219570" y="123304"/>
                  </a:lnTo>
                  <a:lnTo>
                    <a:pt x="182295" y="112064"/>
                  </a:lnTo>
                  <a:lnTo>
                    <a:pt x="169964" y="99047"/>
                  </a:lnTo>
                  <a:lnTo>
                    <a:pt x="145186" y="73126"/>
                  </a:lnTo>
                  <a:lnTo>
                    <a:pt x="143446" y="71145"/>
                  </a:lnTo>
                  <a:lnTo>
                    <a:pt x="141312" y="69786"/>
                  </a:lnTo>
                  <a:lnTo>
                    <a:pt x="138772" y="69062"/>
                  </a:lnTo>
                  <a:lnTo>
                    <a:pt x="133070" y="68008"/>
                  </a:lnTo>
                  <a:lnTo>
                    <a:pt x="129209" y="72224"/>
                  </a:lnTo>
                  <a:lnTo>
                    <a:pt x="129209" y="300913"/>
                  </a:lnTo>
                  <a:lnTo>
                    <a:pt x="146443" y="300863"/>
                  </a:lnTo>
                  <a:lnTo>
                    <a:pt x="146138" y="298665"/>
                  </a:lnTo>
                  <a:lnTo>
                    <a:pt x="146088" y="101625"/>
                  </a:lnTo>
                  <a:lnTo>
                    <a:pt x="146342" y="100520"/>
                  </a:lnTo>
                  <a:lnTo>
                    <a:pt x="146342" y="99364"/>
                  </a:lnTo>
                  <a:lnTo>
                    <a:pt x="147447" y="98869"/>
                  </a:lnTo>
                  <a:lnTo>
                    <a:pt x="148209" y="99999"/>
                  </a:lnTo>
                  <a:lnTo>
                    <a:pt x="149898" y="102120"/>
                  </a:lnTo>
                  <a:lnTo>
                    <a:pt x="158153" y="110947"/>
                  </a:lnTo>
                  <a:lnTo>
                    <a:pt x="182956" y="137185"/>
                  </a:lnTo>
                  <a:lnTo>
                    <a:pt x="185801" y="140563"/>
                  </a:lnTo>
                  <a:lnTo>
                    <a:pt x="189217" y="143205"/>
                  </a:lnTo>
                  <a:lnTo>
                    <a:pt x="197205" y="147015"/>
                  </a:lnTo>
                  <a:lnTo>
                    <a:pt x="201409" y="147993"/>
                  </a:lnTo>
                  <a:lnTo>
                    <a:pt x="210261" y="148158"/>
                  </a:lnTo>
                  <a:lnTo>
                    <a:pt x="214503" y="147307"/>
                  </a:lnTo>
                  <a:lnTo>
                    <a:pt x="222605" y="143789"/>
                  </a:lnTo>
                  <a:lnTo>
                    <a:pt x="226123" y="141262"/>
                  </a:lnTo>
                  <a:lnTo>
                    <a:pt x="229082" y="137985"/>
                  </a:lnTo>
                  <a:lnTo>
                    <a:pt x="231584" y="135636"/>
                  </a:lnTo>
                  <a:lnTo>
                    <a:pt x="236601" y="130619"/>
                  </a:lnTo>
                  <a:lnTo>
                    <a:pt x="238633" y="129184"/>
                  </a:lnTo>
                  <a:lnTo>
                    <a:pt x="239788" y="127241"/>
                  </a:lnTo>
                  <a:lnTo>
                    <a:pt x="240322" y="122288"/>
                  </a:lnTo>
                  <a:close/>
                </a:path>
                <a:path w="413384" h="300989">
                  <a:moveTo>
                    <a:pt x="274929" y="76136"/>
                  </a:moveTo>
                  <a:lnTo>
                    <a:pt x="274523" y="74295"/>
                  </a:lnTo>
                  <a:lnTo>
                    <a:pt x="272376" y="70891"/>
                  </a:lnTo>
                  <a:lnTo>
                    <a:pt x="270878" y="69735"/>
                  </a:lnTo>
                  <a:lnTo>
                    <a:pt x="267055" y="68503"/>
                  </a:lnTo>
                  <a:lnTo>
                    <a:pt x="265163" y="68580"/>
                  </a:lnTo>
                  <a:lnTo>
                    <a:pt x="261442" y="70078"/>
                  </a:lnTo>
                  <a:lnTo>
                    <a:pt x="260032" y="71348"/>
                  </a:lnTo>
                  <a:lnTo>
                    <a:pt x="259080" y="73126"/>
                  </a:lnTo>
                  <a:lnTo>
                    <a:pt x="255155" y="78206"/>
                  </a:lnTo>
                  <a:lnTo>
                    <a:pt x="234188" y="106273"/>
                  </a:lnTo>
                  <a:lnTo>
                    <a:pt x="247421" y="116293"/>
                  </a:lnTo>
                  <a:lnTo>
                    <a:pt x="257429" y="103479"/>
                  </a:lnTo>
                  <a:lnTo>
                    <a:pt x="258330" y="103974"/>
                  </a:lnTo>
                  <a:lnTo>
                    <a:pt x="258330" y="300913"/>
                  </a:lnTo>
                  <a:lnTo>
                    <a:pt x="274662" y="300761"/>
                  </a:lnTo>
                  <a:lnTo>
                    <a:pt x="274662" y="78130"/>
                  </a:lnTo>
                  <a:lnTo>
                    <a:pt x="274929" y="76136"/>
                  </a:lnTo>
                  <a:close/>
                </a:path>
                <a:path w="413384" h="300989">
                  <a:moveTo>
                    <a:pt x="326656" y="163880"/>
                  </a:moveTo>
                  <a:lnTo>
                    <a:pt x="310172" y="163880"/>
                  </a:lnTo>
                  <a:lnTo>
                    <a:pt x="310172" y="300913"/>
                  </a:lnTo>
                  <a:lnTo>
                    <a:pt x="326656" y="300913"/>
                  </a:lnTo>
                  <a:lnTo>
                    <a:pt x="326656" y="163880"/>
                  </a:lnTo>
                  <a:close/>
                </a:path>
                <a:path w="413384" h="300989">
                  <a:moveTo>
                    <a:pt x="413004" y="55346"/>
                  </a:moveTo>
                  <a:lnTo>
                    <a:pt x="412661" y="54546"/>
                  </a:lnTo>
                  <a:lnTo>
                    <a:pt x="412203" y="52882"/>
                  </a:lnTo>
                  <a:lnTo>
                    <a:pt x="411226" y="45567"/>
                  </a:lnTo>
                  <a:lnTo>
                    <a:pt x="408978" y="38658"/>
                  </a:lnTo>
                  <a:lnTo>
                    <a:pt x="380136" y="6502"/>
                  </a:lnTo>
                  <a:lnTo>
                    <a:pt x="359181" y="0"/>
                  </a:lnTo>
                  <a:lnTo>
                    <a:pt x="289750" y="0"/>
                  </a:lnTo>
                  <a:lnTo>
                    <a:pt x="252501" y="15786"/>
                  </a:lnTo>
                  <a:lnTo>
                    <a:pt x="228244" y="46697"/>
                  </a:lnTo>
                  <a:lnTo>
                    <a:pt x="217563" y="63055"/>
                  </a:lnTo>
                  <a:lnTo>
                    <a:pt x="217563" y="63957"/>
                  </a:lnTo>
                  <a:lnTo>
                    <a:pt x="230530" y="72872"/>
                  </a:lnTo>
                  <a:lnTo>
                    <a:pt x="232791" y="69913"/>
                  </a:lnTo>
                  <a:lnTo>
                    <a:pt x="243890" y="52755"/>
                  </a:lnTo>
                  <a:lnTo>
                    <a:pt x="252196" y="40932"/>
                  </a:lnTo>
                  <a:lnTo>
                    <a:pt x="283895" y="17551"/>
                  </a:lnTo>
                  <a:lnTo>
                    <a:pt x="292442" y="16725"/>
                  </a:lnTo>
                  <a:lnTo>
                    <a:pt x="354761" y="16738"/>
                  </a:lnTo>
                  <a:lnTo>
                    <a:pt x="388962" y="36791"/>
                  </a:lnTo>
                  <a:lnTo>
                    <a:pt x="395935" y="56451"/>
                  </a:lnTo>
                  <a:lnTo>
                    <a:pt x="395566" y="78066"/>
                  </a:lnTo>
                  <a:lnTo>
                    <a:pt x="395478" y="94361"/>
                  </a:lnTo>
                  <a:lnTo>
                    <a:pt x="395566" y="110629"/>
                  </a:lnTo>
                  <a:lnTo>
                    <a:pt x="395871" y="126860"/>
                  </a:lnTo>
                  <a:lnTo>
                    <a:pt x="395592" y="133210"/>
                  </a:lnTo>
                  <a:lnTo>
                    <a:pt x="369722" y="154965"/>
                  </a:lnTo>
                  <a:lnTo>
                    <a:pt x="369430" y="153111"/>
                  </a:lnTo>
                  <a:lnTo>
                    <a:pt x="369430" y="71120"/>
                  </a:lnTo>
                  <a:lnTo>
                    <a:pt x="368528" y="69062"/>
                  </a:lnTo>
                  <a:lnTo>
                    <a:pt x="352945" y="69062"/>
                  </a:lnTo>
                  <a:lnTo>
                    <a:pt x="352945" y="300913"/>
                  </a:lnTo>
                  <a:lnTo>
                    <a:pt x="369633" y="300863"/>
                  </a:lnTo>
                  <a:lnTo>
                    <a:pt x="369633" y="171742"/>
                  </a:lnTo>
                  <a:lnTo>
                    <a:pt x="376288" y="170929"/>
                  </a:lnTo>
                  <a:lnTo>
                    <a:pt x="409994" y="142303"/>
                  </a:lnTo>
                  <a:lnTo>
                    <a:pt x="412432" y="133032"/>
                  </a:lnTo>
                  <a:lnTo>
                    <a:pt x="413004" y="131927"/>
                  </a:lnTo>
                  <a:lnTo>
                    <a:pt x="413004" y="55346"/>
                  </a:lnTo>
                  <a:close/>
                </a:path>
              </a:pathLst>
            </a:custGeom>
            <a:solidFill>
              <a:srgbClr val="F72E40"/>
            </a:solidFill>
          </p:spPr>
          <p:txBody>
            <a:bodyPr wrap="square" lIns="0" tIns="0" rIns="0" bIns="0" rtlCol="0"/>
            <a:lstStyle/>
            <a:p>
              <a:endParaRPr sz="2118"/>
            </a:p>
          </p:txBody>
        </p:sp>
        <p:pic>
          <p:nvPicPr>
            <p:cNvPr id="7" name="object 7"/>
            <p:cNvPicPr/>
            <p:nvPr/>
          </p:nvPicPr>
          <p:blipFill>
            <a:blip r:embed="rId4" cstate="print"/>
            <a:stretch>
              <a:fillRect/>
            </a:stretch>
          </p:blipFill>
          <p:spPr>
            <a:xfrm>
              <a:off x="970480" y="1634371"/>
              <a:ext cx="86029" cy="103032"/>
            </a:xfrm>
            <a:prstGeom prst="rect">
              <a:avLst/>
            </a:prstGeom>
          </p:spPr>
        </p:pic>
        <p:pic>
          <p:nvPicPr>
            <p:cNvPr id="8" name="object 8"/>
            <p:cNvPicPr/>
            <p:nvPr/>
          </p:nvPicPr>
          <p:blipFill>
            <a:blip r:embed="rId5" cstate="print"/>
            <a:stretch>
              <a:fillRect/>
            </a:stretch>
          </p:blipFill>
          <p:spPr>
            <a:xfrm>
              <a:off x="1193397" y="1635276"/>
              <a:ext cx="86716" cy="102227"/>
            </a:xfrm>
            <a:prstGeom prst="rect">
              <a:avLst/>
            </a:prstGeom>
          </p:spPr>
        </p:pic>
        <p:sp>
          <p:nvSpPr>
            <p:cNvPr id="9" name="object 9"/>
            <p:cNvSpPr/>
            <p:nvPr/>
          </p:nvSpPr>
          <p:spPr>
            <a:xfrm>
              <a:off x="1360398" y="1746630"/>
              <a:ext cx="413384" cy="300990"/>
            </a:xfrm>
            <a:custGeom>
              <a:avLst/>
              <a:gdLst/>
              <a:ahLst/>
              <a:cxnLst/>
              <a:rect l="l" t="t" r="r" b="b"/>
              <a:pathLst>
                <a:path w="413385" h="300989">
                  <a:moveTo>
                    <a:pt x="103009" y="163880"/>
                  </a:moveTo>
                  <a:lnTo>
                    <a:pt x="86588" y="163880"/>
                  </a:lnTo>
                  <a:lnTo>
                    <a:pt x="86588" y="300913"/>
                  </a:lnTo>
                  <a:lnTo>
                    <a:pt x="103009" y="300913"/>
                  </a:lnTo>
                  <a:lnTo>
                    <a:pt x="103009" y="163880"/>
                  </a:lnTo>
                  <a:close/>
                </a:path>
                <a:path w="413385" h="300989">
                  <a:moveTo>
                    <a:pt x="240360" y="122199"/>
                  </a:moveTo>
                  <a:lnTo>
                    <a:pt x="239661" y="120040"/>
                  </a:lnTo>
                  <a:lnTo>
                    <a:pt x="237998" y="118198"/>
                  </a:lnTo>
                  <a:lnTo>
                    <a:pt x="212394" y="80010"/>
                  </a:lnTo>
                  <a:lnTo>
                    <a:pt x="186461" y="42113"/>
                  </a:lnTo>
                  <a:lnTo>
                    <a:pt x="155676" y="11010"/>
                  </a:lnTo>
                  <a:lnTo>
                    <a:pt x="116332" y="0"/>
                  </a:lnTo>
                  <a:lnTo>
                    <a:pt x="57073" y="0"/>
                  </a:lnTo>
                  <a:lnTo>
                    <a:pt x="53352" y="381"/>
                  </a:lnTo>
                  <a:lnTo>
                    <a:pt x="49669" y="1143"/>
                  </a:lnTo>
                  <a:lnTo>
                    <a:pt x="42583" y="2451"/>
                  </a:lnTo>
                  <a:lnTo>
                    <a:pt x="9131" y="28105"/>
                  </a:lnTo>
                  <a:lnTo>
                    <a:pt x="0" y="54952"/>
                  </a:lnTo>
                  <a:lnTo>
                    <a:pt x="177" y="62153"/>
                  </a:lnTo>
                  <a:lnTo>
                    <a:pt x="330" y="110007"/>
                  </a:lnTo>
                  <a:lnTo>
                    <a:pt x="177" y="125958"/>
                  </a:lnTo>
                  <a:lnTo>
                    <a:pt x="228" y="130708"/>
                  </a:lnTo>
                  <a:lnTo>
                    <a:pt x="977" y="135331"/>
                  </a:lnTo>
                  <a:lnTo>
                    <a:pt x="26466" y="167551"/>
                  </a:lnTo>
                  <a:lnTo>
                    <a:pt x="32207" y="169430"/>
                  </a:lnTo>
                  <a:lnTo>
                    <a:pt x="33223" y="170103"/>
                  </a:lnTo>
                  <a:lnTo>
                    <a:pt x="34709" y="172262"/>
                  </a:lnTo>
                  <a:lnTo>
                    <a:pt x="34975" y="173456"/>
                  </a:lnTo>
                  <a:lnTo>
                    <a:pt x="34798" y="174752"/>
                  </a:lnTo>
                  <a:lnTo>
                    <a:pt x="34798" y="300812"/>
                  </a:lnTo>
                  <a:lnTo>
                    <a:pt x="50965" y="300812"/>
                  </a:lnTo>
                  <a:lnTo>
                    <a:pt x="50965" y="74472"/>
                  </a:lnTo>
                  <a:lnTo>
                    <a:pt x="51155" y="73355"/>
                  </a:lnTo>
                  <a:lnTo>
                    <a:pt x="51155" y="72237"/>
                  </a:lnTo>
                  <a:lnTo>
                    <a:pt x="50965" y="71120"/>
                  </a:lnTo>
                  <a:lnTo>
                    <a:pt x="50723" y="70269"/>
                  </a:lnTo>
                  <a:lnTo>
                    <a:pt x="49771" y="69062"/>
                  </a:lnTo>
                  <a:lnTo>
                    <a:pt x="34442" y="69062"/>
                  </a:lnTo>
                  <a:lnTo>
                    <a:pt x="34442" y="152107"/>
                  </a:lnTo>
                  <a:lnTo>
                    <a:pt x="29527" y="150329"/>
                  </a:lnTo>
                  <a:lnTo>
                    <a:pt x="25476" y="147370"/>
                  </a:lnTo>
                  <a:lnTo>
                    <a:pt x="19138" y="139065"/>
                  </a:lnTo>
                  <a:lnTo>
                    <a:pt x="17335" y="134378"/>
                  </a:lnTo>
                  <a:lnTo>
                    <a:pt x="16916" y="129171"/>
                  </a:lnTo>
                  <a:lnTo>
                    <a:pt x="16916" y="55308"/>
                  </a:lnTo>
                  <a:lnTo>
                    <a:pt x="40843" y="20993"/>
                  </a:lnTo>
                  <a:lnTo>
                    <a:pt x="55499" y="16662"/>
                  </a:lnTo>
                  <a:lnTo>
                    <a:pt x="123710" y="16700"/>
                  </a:lnTo>
                  <a:lnTo>
                    <a:pt x="163461" y="39865"/>
                  </a:lnTo>
                  <a:lnTo>
                    <a:pt x="191020" y="77698"/>
                  </a:lnTo>
                  <a:lnTo>
                    <a:pt x="219925" y="120904"/>
                  </a:lnTo>
                  <a:lnTo>
                    <a:pt x="220065" y="122072"/>
                  </a:lnTo>
                  <a:lnTo>
                    <a:pt x="219659" y="123304"/>
                  </a:lnTo>
                  <a:lnTo>
                    <a:pt x="182422" y="112064"/>
                  </a:lnTo>
                  <a:lnTo>
                    <a:pt x="170103" y="99047"/>
                  </a:lnTo>
                  <a:lnTo>
                    <a:pt x="145288" y="73126"/>
                  </a:lnTo>
                  <a:lnTo>
                    <a:pt x="143548" y="71145"/>
                  </a:lnTo>
                  <a:lnTo>
                    <a:pt x="141401" y="69786"/>
                  </a:lnTo>
                  <a:lnTo>
                    <a:pt x="138874" y="69062"/>
                  </a:lnTo>
                  <a:lnTo>
                    <a:pt x="133159" y="68008"/>
                  </a:lnTo>
                  <a:lnTo>
                    <a:pt x="129311" y="72224"/>
                  </a:lnTo>
                  <a:lnTo>
                    <a:pt x="129311" y="300913"/>
                  </a:lnTo>
                  <a:lnTo>
                    <a:pt x="146685" y="300761"/>
                  </a:lnTo>
                  <a:lnTo>
                    <a:pt x="146342" y="299669"/>
                  </a:lnTo>
                  <a:lnTo>
                    <a:pt x="146342" y="99263"/>
                  </a:lnTo>
                  <a:lnTo>
                    <a:pt x="147434" y="98767"/>
                  </a:lnTo>
                  <a:lnTo>
                    <a:pt x="148221" y="99898"/>
                  </a:lnTo>
                  <a:lnTo>
                    <a:pt x="149936" y="102019"/>
                  </a:lnTo>
                  <a:lnTo>
                    <a:pt x="158165" y="110820"/>
                  </a:lnTo>
                  <a:lnTo>
                    <a:pt x="182994" y="137083"/>
                  </a:lnTo>
                  <a:lnTo>
                    <a:pt x="185851" y="140462"/>
                  </a:lnTo>
                  <a:lnTo>
                    <a:pt x="189268" y="143103"/>
                  </a:lnTo>
                  <a:lnTo>
                    <a:pt x="197256" y="146913"/>
                  </a:lnTo>
                  <a:lnTo>
                    <a:pt x="201460" y="147904"/>
                  </a:lnTo>
                  <a:lnTo>
                    <a:pt x="210299" y="148056"/>
                  </a:lnTo>
                  <a:lnTo>
                    <a:pt x="214541" y="147205"/>
                  </a:lnTo>
                  <a:lnTo>
                    <a:pt x="222656" y="143687"/>
                  </a:lnTo>
                  <a:lnTo>
                    <a:pt x="226161" y="141160"/>
                  </a:lnTo>
                  <a:lnTo>
                    <a:pt x="229133" y="137883"/>
                  </a:lnTo>
                  <a:lnTo>
                    <a:pt x="236588" y="130517"/>
                  </a:lnTo>
                  <a:lnTo>
                    <a:pt x="238633" y="129095"/>
                  </a:lnTo>
                  <a:lnTo>
                    <a:pt x="239788" y="127152"/>
                  </a:lnTo>
                  <a:lnTo>
                    <a:pt x="240360" y="122199"/>
                  </a:lnTo>
                  <a:close/>
                </a:path>
                <a:path w="413385" h="300989">
                  <a:moveTo>
                    <a:pt x="275018" y="76136"/>
                  </a:moveTo>
                  <a:lnTo>
                    <a:pt x="274612" y="74295"/>
                  </a:lnTo>
                  <a:lnTo>
                    <a:pt x="272465" y="70891"/>
                  </a:lnTo>
                  <a:lnTo>
                    <a:pt x="270979" y="69735"/>
                  </a:lnTo>
                  <a:lnTo>
                    <a:pt x="267144" y="68503"/>
                  </a:lnTo>
                  <a:lnTo>
                    <a:pt x="265264" y="68580"/>
                  </a:lnTo>
                  <a:lnTo>
                    <a:pt x="261531" y="70078"/>
                  </a:lnTo>
                  <a:lnTo>
                    <a:pt x="260134" y="71348"/>
                  </a:lnTo>
                  <a:lnTo>
                    <a:pt x="259181" y="73126"/>
                  </a:lnTo>
                  <a:lnTo>
                    <a:pt x="255257" y="78206"/>
                  </a:lnTo>
                  <a:lnTo>
                    <a:pt x="234289" y="106273"/>
                  </a:lnTo>
                  <a:lnTo>
                    <a:pt x="247561" y="116293"/>
                  </a:lnTo>
                  <a:lnTo>
                    <a:pt x="257581" y="103479"/>
                  </a:lnTo>
                  <a:lnTo>
                    <a:pt x="258533" y="103974"/>
                  </a:lnTo>
                  <a:lnTo>
                    <a:pt x="258533" y="300913"/>
                  </a:lnTo>
                  <a:lnTo>
                    <a:pt x="274764" y="300964"/>
                  </a:lnTo>
                  <a:lnTo>
                    <a:pt x="274764" y="78130"/>
                  </a:lnTo>
                  <a:lnTo>
                    <a:pt x="275018" y="76136"/>
                  </a:lnTo>
                  <a:close/>
                </a:path>
                <a:path w="413385" h="300989">
                  <a:moveTo>
                    <a:pt x="326847" y="163880"/>
                  </a:moveTo>
                  <a:lnTo>
                    <a:pt x="310324" y="163880"/>
                  </a:lnTo>
                  <a:lnTo>
                    <a:pt x="310324" y="300913"/>
                  </a:lnTo>
                  <a:lnTo>
                    <a:pt x="326847" y="300913"/>
                  </a:lnTo>
                  <a:lnTo>
                    <a:pt x="326847" y="163880"/>
                  </a:lnTo>
                  <a:close/>
                </a:path>
                <a:path w="413385" h="300989">
                  <a:moveTo>
                    <a:pt x="413194" y="55346"/>
                  </a:moveTo>
                  <a:lnTo>
                    <a:pt x="412838" y="54546"/>
                  </a:lnTo>
                  <a:lnTo>
                    <a:pt x="412343" y="52882"/>
                  </a:lnTo>
                  <a:lnTo>
                    <a:pt x="411365" y="45567"/>
                  </a:lnTo>
                  <a:lnTo>
                    <a:pt x="409143" y="38658"/>
                  </a:lnTo>
                  <a:lnTo>
                    <a:pt x="380301" y="6489"/>
                  </a:lnTo>
                  <a:lnTo>
                    <a:pt x="359321" y="0"/>
                  </a:lnTo>
                  <a:lnTo>
                    <a:pt x="289915" y="0"/>
                  </a:lnTo>
                  <a:lnTo>
                    <a:pt x="252653" y="15773"/>
                  </a:lnTo>
                  <a:lnTo>
                    <a:pt x="228409" y="46697"/>
                  </a:lnTo>
                  <a:lnTo>
                    <a:pt x="217754" y="63055"/>
                  </a:lnTo>
                  <a:lnTo>
                    <a:pt x="217754" y="63957"/>
                  </a:lnTo>
                  <a:lnTo>
                    <a:pt x="230784" y="72872"/>
                  </a:lnTo>
                  <a:lnTo>
                    <a:pt x="232384" y="70815"/>
                  </a:lnTo>
                  <a:lnTo>
                    <a:pt x="244106" y="52755"/>
                  </a:lnTo>
                  <a:lnTo>
                    <a:pt x="252387" y="40932"/>
                  </a:lnTo>
                  <a:lnTo>
                    <a:pt x="284099" y="17564"/>
                  </a:lnTo>
                  <a:lnTo>
                    <a:pt x="292646" y="16725"/>
                  </a:lnTo>
                  <a:lnTo>
                    <a:pt x="355028" y="16738"/>
                  </a:lnTo>
                  <a:lnTo>
                    <a:pt x="389216" y="36804"/>
                  </a:lnTo>
                  <a:lnTo>
                    <a:pt x="396176" y="56464"/>
                  </a:lnTo>
                  <a:lnTo>
                    <a:pt x="395795" y="78066"/>
                  </a:lnTo>
                  <a:lnTo>
                    <a:pt x="395693" y="94361"/>
                  </a:lnTo>
                  <a:lnTo>
                    <a:pt x="395795" y="110629"/>
                  </a:lnTo>
                  <a:lnTo>
                    <a:pt x="396113" y="126860"/>
                  </a:lnTo>
                  <a:lnTo>
                    <a:pt x="395846" y="133210"/>
                  </a:lnTo>
                  <a:lnTo>
                    <a:pt x="369976" y="154965"/>
                  </a:lnTo>
                  <a:lnTo>
                    <a:pt x="369620" y="153111"/>
                  </a:lnTo>
                  <a:lnTo>
                    <a:pt x="369570" y="71120"/>
                  </a:lnTo>
                  <a:lnTo>
                    <a:pt x="368719" y="69062"/>
                  </a:lnTo>
                  <a:lnTo>
                    <a:pt x="353098" y="69062"/>
                  </a:lnTo>
                  <a:lnTo>
                    <a:pt x="353098" y="300913"/>
                  </a:lnTo>
                  <a:lnTo>
                    <a:pt x="369773" y="300863"/>
                  </a:lnTo>
                  <a:lnTo>
                    <a:pt x="369773" y="171742"/>
                  </a:lnTo>
                  <a:lnTo>
                    <a:pt x="376440" y="170929"/>
                  </a:lnTo>
                  <a:lnTo>
                    <a:pt x="410159" y="142303"/>
                  </a:lnTo>
                  <a:lnTo>
                    <a:pt x="412610" y="133019"/>
                  </a:lnTo>
                  <a:lnTo>
                    <a:pt x="412851" y="132448"/>
                  </a:lnTo>
                  <a:lnTo>
                    <a:pt x="413194" y="131927"/>
                  </a:lnTo>
                  <a:lnTo>
                    <a:pt x="413194" y="55346"/>
                  </a:lnTo>
                  <a:close/>
                </a:path>
              </a:pathLst>
            </a:custGeom>
            <a:solidFill>
              <a:srgbClr val="F72E40"/>
            </a:solidFill>
          </p:spPr>
          <p:txBody>
            <a:bodyPr wrap="square" lIns="0" tIns="0" rIns="0" bIns="0" rtlCol="0"/>
            <a:lstStyle/>
            <a:p>
              <a:endParaRPr sz="2118"/>
            </a:p>
          </p:txBody>
        </p:sp>
        <p:pic>
          <p:nvPicPr>
            <p:cNvPr id="10" name="object 10"/>
            <p:cNvPicPr/>
            <p:nvPr/>
          </p:nvPicPr>
          <p:blipFill>
            <a:blip r:embed="rId6" cstate="print"/>
            <a:stretch>
              <a:fillRect/>
            </a:stretch>
          </p:blipFill>
          <p:spPr>
            <a:xfrm>
              <a:off x="1412632" y="1634371"/>
              <a:ext cx="85894" cy="103031"/>
            </a:xfrm>
            <a:prstGeom prst="rect">
              <a:avLst/>
            </a:prstGeom>
          </p:spPr>
        </p:pic>
        <p:pic>
          <p:nvPicPr>
            <p:cNvPr id="11" name="object 11"/>
            <p:cNvPicPr/>
            <p:nvPr/>
          </p:nvPicPr>
          <p:blipFill>
            <a:blip r:embed="rId7" cstate="print"/>
            <a:stretch>
              <a:fillRect/>
            </a:stretch>
          </p:blipFill>
          <p:spPr>
            <a:xfrm>
              <a:off x="1635464" y="1635276"/>
              <a:ext cx="86796" cy="102227"/>
            </a:xfrm>
            <a:prstGeom prst="rect">
              <a:avLst/>
            </a:prstGeom>
          </p:spPr>
        </p:pic>
        <p:sp>
          <p:nvSpPr>
            <p:cNvPr id="12" name="object 12"/>
            <p:cNvSpPr/>
            <p:nvPr/>
          </p:nvSpPr>
          <p:spPr>
            <a:xfrm>
              <a:off x="1802180" y="1746237"/>
              <a:ext cx="413384" cy="301625"/>
            </a:xfrm>
            <a:custGeom>
              <a:avLst/>
              <a:gdLst/>
              <a:ahLst/>
              <a:cxnLst/>
              <a:rect l="l" t="t" r="r" b="b"/>
              <a:pathLst>
                <a:path w="413385" h="301625">
                  <a:moveTo>
                    <a:pt x="103251" y="164274"/>
                  </a:moveTo>
                  <a:lnTo>
                    <a:pt x="86817" y="164274"/>
                  </a:lnTo>
                  <a:lnTo>
                    <a:pt x="86817" y="301307"/>
                  </a:lnTo>
                  <a:lnTo>
                    <a:pt x="103251" y="301307"/>
                  </a:lnTo>
                  <a:lnTo>
                    <a:pt x="103251" y="164274"/>
                  </a:lnTo>
                  <a:close/>
                </a:path>
                <a:path w="413385" h="301625">
                  <a:moveTo>
                    <a:pt x="240360" y="122593"/>
                  </a:moveTo>
                  <a:lnTo>
                    <a:pt x="239649" y="120434"/>
                  </a:lnTo>
                  <a:lnTo>
                    <a:pt x="237985" y="118592"/>
                  </a:lnTo>
                  <a:lnTo>
                    <a:pt x="212407" y="80403"/>
                  </a:lnTo>
                  <a:lnTo>
                    <a:pt x="186486" y="42506"/>
                  </a:lnTo>
                  <a:lnTo>
                    <a:pt x="155714" y="11404"/>
                  </a:lnTo>
                  <a:lnTo>
                    <a:pt x="116370" y="393"/>
                  </a:lnTo>
                  <a:lnTo>
                    <a:pt x="57061" y="393"/>
                  </a:lnTo>
                  <a:lnTo>
                    <a:pt x="53340" y="787"/>
                  </a:lnTo>
                  <a:lnTo>
                    <a:pt x="49657" y="1536"/>
                  </a:lnTo>
                  <a:lnTo>
                    <a:pt x="42557" y="2819"/>
                  </a:lnTo>
                  <a:lnTo>
                    <a:pt x="9055" y="28448"/>
                  </a:lnTo>
                  <a:lnTo>
                    <a:pt x="0" y="55346"/>
                  </a:lnTo>
                  <a:lnTo>
                    <a:pt x="215" y="62547"/>
                  </a:lnTo>
                  <a:lnTo>
                    <a:pt x="381" y="110401"/>
                  </a:lnTo>
                  <a:lnTo>
                    <a:pt x="215" y="126352"/>
                  </a:lnTo>
                  <a:lnTo>
                    <a:pt x="254" y="131102"/>
                  </a:lnTo>
                  <a:lnTo>
                    <a:pt x="1016" y="135724"/>
                  </a:lnTo>
                  <a:lnTo>
                    <a:pt x="26543" y="167944"/>
                  </a:lnTo>
                  <a:lnTo>
                    <a:pt x="32296" y="169824"/>
                  </a:lnTo>
                  <a:lnTo>
                    <a:pt x="33312" y="170497"/>
                  </a:lnTo>
                  <a:lnTo>
                    <a:pt x="34785" y="172656"/>
                  </a:lnTo>
                  <a:lnTo>
                    <a:pt x="35064" y="173850"/>
                  </a:lnTo>
                  <a:lnTo>
                    <a:pt x="34874" y="175145"/>
                  </a:lnTo>
                  <a:lnTo>
                    <a:pt x="34874" y="301205"/>
                  </a:lnTo>
                  <a:lnTo>
                    <a:pt x="51409" y="301205"/>
                  </a:lnTo>
                  <a:lnTo>
                    <a:pt x="51409" y="74866"/>
                  </a:lnTo>
                  <a:lnTo>
                    <a:pt x="51562" y="73748"/>
                  </a:lnTo>
                  <a:lnTo>
                    <a:pt x="51562" y="72631"/>
                  </a:lnTo>
                  <a:lnTo>
                    <a:pt x="51409" y="71513"/>
                  </a:lnTo>
                  <a:lnTo>
                    <a:pt x="51104" y="70662"/>
                  </a:lnTo>
                  <a:lnTo>
                    <a:pt x="50152" y="69456"/>
                  </a:lnTo>
                  <a:lnTo>
                    <a:pt x="34874" y="69456"/>
                  </a:lnTo>
                  <a:lnTo>
                    <a:pt x="34874" y="152755"/>
                  </a:lnTo>
                  <a:lnTo>
                    <a:pt x="29959" y="150977"/>
                  </a:lnTo>
                  <a:lnTo>
                    <a:pt x="25908" y="148018"/>
                  </a:lnTo>
                  <a:lnTo>
                    <a:pt x="19545" y="139712"/>
                  </a:lnTo>
                  <a:lnTo>
                    <a:pt x="17729" y="135026"/>
                  </a:lnTo>
                  <a:lnTo>
                    <a:pt x="17297" y="129806"/>
                  </a:lnTo>
                  <a:lnTo>
                    <a:pt x="17310" y="55956"/>
                  </a:lnTo>
                  <a:lnTo>
                    <a:pt x="41186" y="21653"/>
                  </a:lnTo>
                  <a:lnTo>
                    <a:pt x="55829" y="17310"/>
                  </a:lnTo>
                  <a:lnTo>
                    <a:pt x="124053" y="17335"/>
                  </a:lnTo>
                  <a:lnTo>
                    <a:pt x="163804" y="40513"/>
                  </a:lnTo>
                  <a:lnTo>
                    <a:pt x="191363" y="78346"/>
                  </a:lnTo>
                  <a:lnTo>
                    <a:pt x="220256" y="121539"/>
                  </a:lnTo>
                  <a:lnTo>
                    <a:pt x="220408" y="122707"/>
                  </a:lnTo>
                  <a:lnTo>
                    <a:pt x="220002" y="123952"/>
                  </a:lnTo>
                  <a:lnTo>
                    <a:pt x="182727" y="112712"/>
                  </a:lnTo>
                  <a:lnTo>
                    <a:pt x="170395" y="99695"/>
                  </a:lnTo>
                  <a:lnTo>
                    <a:pt x="145618" y="73761"/>
                  </a:lnTo>
                  <a:lnTo>
                    <a:pt x="143865" y="71805"/>
                  </a:lnTo>
                  <a:lnTo>
                    <a:pt x="141732" y="70446"/>
                  </a:lnTo>
                  <a:lnTo>
                    <a:pt x="139204" y="69710"/>
                  </a:lnTo>
                  <a:lnTo>
                    <a:pt x="133451" y="68656"/>
                  </a:lnTo>
                  <a:lnTo>
                    <a:pt x="129641" y="72859"/>
                  </a:lnTo>
                  <a:lnTo>
                    <a:pt x="129641" y="301307"/>
                  </a:lnTo>
                  <a:lnTo>
                    <a:pt x="146418" y="301155"/>
                  </a:lnTo>
                  <a:lnTo>
                    <a:pt x="146316" y="300062"/>
                  </a:lnTo>
                  <a:lnTo>
                    <a:pt x="146075" y="298958"/>
                  </a:lnTo>
                  <a:lnTo>
                    <a:pt x="146075" y="101917"/>
                  </a:lnTo>
                  <a:lnTo>
                    <a:pt x="146316" y="100812"/>
                  </a:lnTo>
                  <a:lnTo>
                    <a:pt x="146316" y="99656"/>
                  </a:lnTo>
                  <a:lnTo>
                    <a:pt x="147472" y="99161"/>
                  </a:lnTo>
                  <a:lnTo>
                    <a:pt x="149034" y="101384"/>
                  </a:lnTo>
                  <a:lnTo>
                    <a:pt x="158178" y="111252"/>
                  </a:lnTo>
                  <a:lnTo>
                    <a:pt x="182981" y="137477"/>
                  </a:lnTo>
                  <a:lnTo>
                    <a:pt x="185826" y="140855"/>
                  </a:lnTo>
                  <a:lnTo>
                    <a:pt x="189255" y="143497"/>
                  </a:lnTo>
                  <a:lnTo>
                    <a:pt x="197243" y="147307"/>
                  </a:lnTo>
                  <a:lnTo>
                    <a:pt x="201447" y="148297"/>
                  </a:lnTo>
                  <a:lnTo>
                    <a:pt x="210286" y="148450"/>
                  </a:lnTo>
                  <a:lnTo>
                    <a:pt x="214528" y="147599"/>
                  </a:lnTo>
                  <a:lnTo>
                    <a:pt x="222643" y="144081"/>
                  </a:lnTo>
                  <a:lnTo>
                    <a:pt x="226148" y="141554"/>
                  </a:lnTo>
                  <a:lnTo>
                    <a:pt x="229108" y="138277"/>
                  </a:lnTo>
                  <a:lnTo>
                    <a:pt x="236626" y="130911"/>
                  </a:lnTo>
                  <a:lnTo>
                    <a:pt x="238658" y="129489"/>
                  </a:lnTo>
                  <a:lnTo>
                    <a:pt x="239814" y="127533"/>
                  </a:lnTo>
                  <a:lnTo>
                    <a:pt x="240360" y="122593"/>
                  </a:lnTo>
                  <a:close/>
                </a:path>
                <a:path w="413385" h="301625">
                  <a:moveTo>
                    <a:pt x="275221" y="76555"/>
                  </a:moveTo>
                  <a:lnTo>
                    <a:pt x="274802" y="74726"/>
                  </a:lnTo>
                  <a:lnTo>
                    <a:pt x="272656" y="71386"/>
                  </a:lnTo>
                  <a:lnTo>
                    <a:pt x="271183" y="70243"/>
                  </a:lnTo>
                  <a:lnTo>
                    <a:pt x="267398" y="69024"/>
                  </a:lnTo>
                  <a:lnTo>
                    <a:pt x="265531" y="69088"/>
                  </a:lnTo>
                  <a:lnTo>
                    <a:pt x="261835" y="70548"/>
                  </a:lnTo>
                  <a:lnTo>
                    <a:pt x="260426" y="71780"/>
                  </a:lnTo>
                  <a:lnTo>
                    <a:pt x="259461" y="73520"/>
                  </a:lnTo>
                  <a:lnTo>
                    <a:pt x="255536" y="78600"/>
                  </a:lnTo>
                  <a:lnTo>
                    <a:pt x="234569" y="106667"/>
                  </a:lnTo>
                  <a:lnTo>
                    <a:pt x="247802" y="116687"/>
                  </a:lnTo>
                  <a:lnTo>
                    <a:pt x="257810" y="103873"/>
                  </a:lnTo>
                  <a:lnTo>
                    <a:pt x="258762" y="104368"/>
                  </a:lnTo>
                  <a:lnTo>
                    <a:pt x="258762" y="301307"/>
                  </a:lnTo>
                  <a:lnTo>
                    <a:pt x="274993" y="301155"/>
                  </a:lnTo>
                  <a:lnTo>
                    <a:pt x="274993" y="78524"/>
                  </a:lnTo>
                  <a:lnTo>
                    <a:pt x="275221" y="76555"/>
                  </a:lnTo>
                  <a:close/>
                </a:path>
                <a:path w="413385" h="301625">
                  <a:moveTo>
                    <a:pt x="327088" y="164274"/>
                  </a:moveTo>
                  <a:lnTo>
                    <a:pt x="310553" y="164274"/>
                  </a:lnTo>
                  <a:lnTo>
                    <a:pt x="310553" y="301307"/>
                  </a:lnTo>
                  <a:lnTo>
                    <a:pt x="327088" y="301307"/>
                  </a:lnTo>
                  <a:lnTo>
                    <a:pt x="327088" y="164274"/>
                  </a:lnTo>
                  <a:close/>
                </a:path>
                <a:path w="413385" h="301625">
                  <a:moveTo>
                    <a:pt x="413232" y="55333"/>
                  </a:moveTo>
                  <a:lnTo>
                    <a:pt x="412864" y="54546"/>
                  </a:lnTo>
                  <a:lnTo>
                    <a:pt x="412597" y="53733"/>
                  </a:lnTo>
                  <a:lnTo>
                    <a:pt x="411454" y="45567"/>
                  </a:lnTo>
                  <a:lnTo>
                    <a:pt x="409219" y="38658"/>
                  </a:lnTo>
                  <a:lnTo>
                    <a:pt x="380377" y="6502"/>
                  </a:lnTo>
                  <a:lnTo>
                    <a:pt x="359410" y="0"/>
                  </a:lnTo>
                  <a:lnTo>
                    <a:pt x="289953" y="0"/>
                  </a:lnTo>
                  <a:lnTo>
                    <a:pt x="252691" y="15773"/>
                  </a:lnTo>
                  <a:lnTo>
                    <a:pt x="228473" y="46697"/>
                  </a:lnTo>
                  <a:lnTo>
                    <a:pt x="217792" y="63042"/>
                  </a:lnTo>
                  <a:lnTo>
                    <a:pt x="217792" y="63944"/>
                  </a:lnTo>
                  <a:lnTo>
                    <a:pt x="230822" y="72859"/>
                  </a:lnTo>
                  <a:lnTo>
                    <a:pt x="232422" y="70815"/>
                  </a:lnTo>
                  <a:lnTo>
                    <a:pt x="244373" y="52743"/>
                  </a:lnTo>
                  <a:lnTo>
                    <a:pt x="252653" y="40932"/>
                  </a:lnTo>
                  <a:lnTo>
                    <a:pt x="284340" y="17564"/>
                  </a:lnTo>
                  <a:lnTo>
                    <a:pt x="292874" y="16713"/>
                  </a:lnTo>
                  <a:lnTo>
                    <a:pt x="355193" y="16738"/>
                  </a:lnTo>
                  <a:lnTo>
                    <a:pt x="389394" y="36791"/>
                  </a:lnTo>
                  <a:lnTo>
                    <a:pt x="396367" y="56451"/>
                  </a:lnTo>
                  <a:lnTo>
                    <a:pt x="396024" y="78066"/>
                  </a:lnTo>
                  <a:lnTo>
                    <a:pt x="395922" y="94348"/>
                  </a:lnTo>
                  <a:lnTo>
                    <a:pt x="396024" y="110617"/>
                  </a:lnTo>
                  <a:lnTo>
                    <a:pt x="396303" y="126860"/>
                  </a:lnTo>
                  <a:lnTo>
                    <a:pt x="396024" y="133197"/>
                  </a:lnTo>
                  <a:lnTo>
                    <a:pt x="370154" y="154952"/>
                  </a:lnTo>
                  <a:lnTo>
                    <a:pt x="369862" y="153098"/>
                  </a:lnTo>
                  <a:lnTo>
                    <a:pt x="369862" y="71513"/>
                  </a:lnTo>
                  <a:lnTo>
                    <a:pt x="368960" y="69456"/>
                  </a:lnTo>
                  <a:lnTo>
                    <a:pt x="353377" y="69456"/>
                  </a:lnTo>
                  <a:lnTo>
                    <a:pt x="353377" y="301307"/>
                  </a:lnTo>
                  <a:lnTo>
                    <a:pt x="369862" y="301015"/>
                  </a:lnTo>
                  <a:lnTo>
                    <a:pt x="369862" y="171742"/>
                  </a:lnTo>
                  <a:lnTo>
                    <a:pt x="376516" y="170916"/>
                  </a:lnTo>
                  <a:lnTo>
                    <a:pt x="410197" y="142290"/>
                  </a:lnTo>
                  <a:lnTo>
                    <a:pt x="412661" y="133019"/>
                  </a:lnTo>
                  <a:lnTo>
                    <a:pt x="413232" y="131914"/>
                  </a:lnTo>
                  <a:lnTo>
                    <a:pt x="413232" y="55333"/>
                  </a:lnTo>
                  <a:close/>
                </a:path>
              </a:pathLst>
            </a:custGeom>
            <a:solidFill>
              <a:srgbClr val="F72E40"/>
            </a:solidFill>
          </p:spPr>
          <p:txBody>
            <a:bodyPr wrap="square" lIns="0" tIns="0" rIns="0" bIns="0" rtlCol="0"/>
            <a:lstStyle/>
            <a:p>
              <a:endParaRPr sz="2118"/>
            </a:p>
          </p:txBody>
        </p:sp>
        <p:pic>
          <p:nvPicPr>
            <p:cNvPr id="13" name="object 13"/>
            <p:cNvPicPr/>
            <p:nvPr/>
          </p:nvPicPr>
          <p:blipFill>
            <a:blip r:embed="rId8" cstate="print"/>
            <a:stretch>
              <a:fillRect/>
            </a:stretch>
          </p:blipFill>
          <p:spPr>
            <a:xfrm>
              <a:off x="2077481" y="1635276"/>
              <a:ext cx="86646" cy="102227"/>
            </a:xfrm>
            <a:prstGeom prst="rect">
              <a:avLst/>
            </a:prstGeom>
          </p:spPr>
        </p:pic>
        <p:pic>
          <p:nvPicPr>
            <p:cNvPr id="14" name="object 14"/>
            <p:cNvPicPr/>
            <p:nvPr/>
          </p:nvPicPr>
          <p:blipFill>
            <a:blip r:embed="rId9" cstate="print"/>
            <a:stretch>
              <a:fillRect/>
            </a:stretch>
          </p:blipFill>
          <p:spPr>
            <a:xfrm>
              <a:off x="1854513" y="1634371"/>
              <a:ext cx="85979" cy="103031"/>
            </a:xfrm>
            <a:prstGeom prst="rect">
              <a:avLst/>
            </a:prstGeom>
          </p:spPr>
        </p:pic>
        <p:sp>
          <p:nvSpPr>
            <p:cNvPr id="15" name="object 15"/>
            <p:cNvSpPr/>
            <p:nvPr/>
          </p:nvSpPr>
          <p:spPr>
            <a:xfrm>
              <a:off x="2244229" y="1746630"/>
              <a:ext cx="413384" cy="300990"/>
            </a:xfrm>
            <a:custGeom>
              <a:avLst/>
              <a:gdLst/>
              <a:ahLst/>
              <a:cxnLst/>
              <a:rect l="l" t="t" r="r" b="b"/>
              <a:pathLst>
                <a:path w="413385" h="300989">
                  <a:moveTo>
                    <a:pt x="103314" y="163880"/>
                  </a:moveTo>
                  <a:lnTo>
                    <a:pt x="86931" y="163880"/>
                  </a:lnTo>
                  <a:lnTo>
                    <a:pt x="86931" y="300913"/>
                  </a:lnTo>
                  <a:lnTo>
                    <a:pt x="103314" y="300913"/>
                  </a:lnTo>
                  <a:lnTo>
                    <a:pt x="103314" y="163880"/>
                  </a:lnTo>
                  <a:close/>
                </a:path>
                <a:path w="413385" h="300989">
                  <a:moveTo>
                    <a:pt x="240766" y="122250"/>
                  </a:moveTo>
                  <a:lnTo>
                    <a:pt x="240068" y="120091"/>
                  </a:lnTo>
                  <a:lnTo>
                    <a:pt x="238391" y="118249"/>
                  </a:lnTo>
                  <a:lnTo>
                    <a:pt x="212801" y="80060"/>
                  </a:lnTo>
                  <a:lnTo>
                    <a:pt x="186855" y="42164"/>
                  </a:lnTo>
                  <a:lnTo>
                    <a:pt x="156197" y="10960"/>
                  </a:lnTo>
                  <a:lnTo>
                    <a:pt x="116332" y="0"/>
                  </a:lnTo>
                  <a:lnTo>
                    <a:pt x="57048" y="0"/>
                  </a:lnTo>
                  <a:lnTo>
                    <a:pt x="53340" y="381"/>
                  </a:lnTo>
                  <a:lnTo>
                    <a:pt x="49669" y="1143"/>
                  </a:lnTo>
                  <a:lnTo>
                    <a:pt x="42583" y="2451"/>
                  </a:lnTo>
                  <a:lnTo>
                    <a:pt x="9118" y="28105"/>
                  </a:lnTo>
                  <a:lnTo>
                    <a:pt x="0" y="54952"/>
                  </a:lnTo>
                  <a:lnTo>
                    <a:pt x="190" y="62153"/>
                  </a:lnTo>
                  <a:lnTo>
                    <a:pt x="355" y="110007"/>
                  </a:lnTo>
                  <a:lnTo>
                    <a:pt x="190" y="125958"/>
                  </a:lnTo>
                  <a:lnTo>
                    <a:pt x="241" y="130708"/>
                  </a:lnTo>
                  <a:lnTo>
                    <a:pt x="1003" y="135331"/>
                  </a:lnTo>
                  <a:lnTo>
                    <a:pt x="26517" y="167551"/>
                  </a:lnTo>
                  <a:lnTo>
                    <a:pt x="32270" y="169430"/>
                  </a:lnTo>
                  <a:lnTo>
                    <a:pt x="33274" y="170103"/>
                  </a:lnTo>
                  <a:lnTo>
                    <a:pt x="34759" y="172262"/>
                  </a:lnTo>
                  <a:lnTo>
                    <a:pt x="35039" y="173456"/>
                  </a:lnTo>
                  <a:lnTo>
                    <a:pt x="34848" y="174752"/>
                  </a:lnTo>
                  <a:lnTo>
                    <a:pt x="34848" y="300812"/>
                  </a:lnTo>
                  <a:lnTo>
                    <a:pt x="51371" y="300812"/>
                  </a:lnTo>
                  <a:lnTo>
                    <a:pt x="51371" y="74472"/>
                  </a:lnTo>
                  <a:lnTo>
                    <a:pt x="51549" y="73355"/>
                  </a:lnTo>
                  <a:lnTo>
                    <a:pt x="51549" y="72237"/>
                  </a:lnTo>
                  <a:lnTo>
                    <a:pt x="51371" y="71120"/>
                  </a:lnTo>
                  <a:lnTo>
                    <a:pt x="51079" y="70269"/>
                  </a:lnTo>
                  <a:lnTo>
                    <a:pt x="50126" y="69062"/>
                  </a:lnTo>
                  <a:lnTo>
                    <a:pt x="34848" y="69062"/>
                  </a:lnTo>
                  <a:lnTo>
                    <a:pt x="34848" y="152107"/>
                  </a:lnTo>
                  <a:lnTo>
                    <a:pt x="29921" y="150329"/>
                  </a:lnTo>
                  <a:lnTo>
                    <a:pt x="25869" y="147370"/>
                  </a:lnTo>
                  <a:lnTo>
                    <a:pt x="19507" y="139065"/>
                  </a:lnTo>
                  <a:lnTo>
                    <a:pt x="17703" y="134378"/>
                  </a:lnTo>
                  <a:lnTo>
                    <a:pt x="17259" y="129171"/>
                  </a:lnTo>
                  <a:lnTo>
                    <a:pt x="17272" y="55308"/>
                  </a:lnTo>
                  <a:lnTo>
                    <a:pt x="41173" y="20993"/>
                  </a:lnTo>
                  <a:lnTo>
                    <a:pt x="55854" y="16662"/>
                  </a:lnTo>
                  <a:lnTo>
                    <a:pt x="124028" y="16700"/>
                  </a:lnTo>
                  <a:lnTo>
                    <a:pt x="163817" y="39865"/>
                  </a:lnTo>
                  <a:lnTo>
                    <a:pt x="191350" y="77698"/>
                  </a:lnTo>
                  <a:lnTo>
                    <a:pt x="219519" y="119799"/>
                  </a:lnTo>
                  <a:lnTo>
                    <a:pt x="220522" y="122656"/>
                  </a:lnTo>
                  <a:lnTo>
                    <a:pt x="219964" y="123304"/>
                  </a:lnTo>
                  <a:lnTo>
                    <a:pt x="182702" y="112064"/>
                  </a:lnTo>
                  <a:lnTo>
                    <a:pt x="170383" y="99047"/>
                  </a:lnTo>
                  <a:lnTo>
                    <a:pt x="145592" y="73126"/>
                  </a:lnTo>
                  <a:lnTo>
                    <a:pt x="143840" y="71145"/>
                  </a:lnTo>
                  <a:lnTo>
                    <a:pt x="141706" y="69786"/>
                  </a:lnTo>
                  <a:lnTo>
                    <a:pt x="139179" y="69062"/>
                  </a:lnTo>
                  <a:lnTo>
                    <a:pt x="133464" y="68008"/>
                  </a:lnTo>
                  <a:lnTo>
                    <a:pt x="129603" y="72224"/>
                  </a:lnTo>
                  <a:lnTo>
                    <a:pt x="129603" y="300913"/>
                  </a:lnTo>
                  <a:lnTo>
                    <a:pt x="146837" y="300812"/>
                  </a:lnTo>
                  <a:lnTo>
                    <a:pt x="146532" y="298615"/>
                  </a:lnTo>
                  <a:lnTo>
                    <a:pt x="146494" y="101574"/>
                  </a:lnTo>
                  <a:lnTo>
                    <a:pt x="146735" y="100469"/>
                  </a:lnTo>
                  <a:lnTo>
                    <a:pt x="146735" y="99314"/>
                  </a:lnTo>
                  <a:lnTo>
                    <a:pt x="147840" y="98818"/>
                  </a:lnTo>
                  <a:lnTo>
                    <a:pt x="148602" y="99949"/>
                  </a:lnTo>
                  <a:lnTo>
                    <a:pt x="150291" y="102069"/>
                  </a:lnTo>
                  <a:lnTo>
                    <a:pt x="183349" y="137134"/>
                  </a:lnTo>
                  <a:lnTo>
                    <a:pt x="186207" y="140512"/>
                  </a:lnTo>
                  <a:lnTo>
                    <a:pt x="189636" y="143141"/>
                  </a:lnTo>
                  <a:lnTo>
                    <a:pt x="197624" y="146939"/>
                  </a:lnTo>
                  <a:lnTo>
                    <a:pt x="201841" y="147929"/>
                  </a:lnTo>
                  <a:lnTo>
                    <a:pt x="210680" y="148082"/>
                  </a:lnTo>
                  <a:lnTo>
                    <a:pt x="214922" y="147243"/>
                  </a:lnTo>
                  <a:lnTo>
                    <a:pt x="223050" y="143725"/>
                  </a:lnTo>
                  <a:lnTo>
                    <a:pt x="226555" y="141211"/>
                  </a:lnTo>
                  <a:lnTo>
                    <a:pt x="229527" y="137934"/>
                  </a:lnTo>
                  <a:lnTo>
                    <a:pt x="236994" y="130568"/>
                  </a:lnTo>
                  <a:lnTo>
                    <a:pt x="239039" y="129146"/>
                  </a:lnTo>
                  <a:lnTo>
                    <a:pt x="240195" y="127203"/>
                  </a:lnTo>
                  <a:lnTo>
                    <a:pt x="240766" y="122250"/>
                  </a:lnTo>
                  <a:close/>
                </a:path>
                <a:path w="413385" h="300989">
                  <a:moveTo>
                    <a:pt x="275323" y="76136"/>
                  </a:moveTo>
                  <a:lnTo>
                    <a:pt x="274916" y="74295"/>
                  </a:lnTo>
                  <a:lnTo>
                    <a:pt x="272770" y="70891"/>
                  </a:lnTo>
                  <a:lnTo>
                    <a:pt x="271272" y="69735"/>
                  </a:lnTo>
                  <a:lnTo>
                    <a:pt x="267449" y="68503"/>
                  </a:lnTo>
                  <a:lnTo>
                    <a:pt x="265557" y="68580"/>
                  </a:lnTo>
                  <a:lnTo>
                    <a:pt x="261835" y="70078"/>
                  </a:lnTo>
                  <a:lnTo>
                    <a:pt x="260426" y="71348"/>
                  </a:lnTo>
                  <a:lnTo>
                    <a:pt x="259486" y="73126"/>
                  </a:lnTo>
                  <a:lnTo>
                    <a:pt x="255549" y="78206"/>
                  </a:lnTo>
                  <a:lnTo>
                    <a:pt x="234594" y="106273"/>
                  </a:lnTo>
                  <a:lnTo>
                    <a:pt x="247815" y="116293"/>
                  </a:lnTo>
                  <a:lnTo>
                    <a:pt x="257835" y="103479"/>
                  </a:lnTo>
                  <a:lnTo>
                    <a:pt x="258737" y="103974"/>
                  </a:lnTo>
                  <a:lnTo>
                    <a:pt x="258737" y="300913"/>
                  </a:lnTo>
                  <a:lnTo>
                    <a:pt x="275056" y="300761"/>
                  </a:lnTo>
                  <a:lnTo>
                    <a:pt x="275056" y="78130"/>
                  </a:lnTo>
                  <a:lnTo>
                    <a:pt x="275323" y="76136"/>
                  </a:lnTo>
                  <a:close/>
                </a:path>
                <a:path w="413385" h="300989">
                  <a:moveTo>
                    <a:pt x="327050" y="163880"/>
                  </a:moveTo>
                  <a:lnTo>
                    <a:pt x="310578" y="163880"/>
                  </a:lnTo>
                  <a:lnTo>
                    <a:pt x="310578" y="300913"/>
                  </a:lnTo>
                  <a:lnTo>
                    <a:pt x="327050" y="300913"/>
                  </a:lnTo>
                  <a:lnTo>
                    <a:pt x="327050" y="163880"/>
                  </a:lnTo>
                  <a:close/>
                </a:path>
                <a:path w="413385" h="300989">
                  <a:moveTo>
                    <a:pt x="413296" y="55384"/>
                  </a:moveTo>
                  <a:lnTo>
                    <a:pt x="412953" y="54597"/>
                  </a:lnTo>
                  <a:lnTo>
                    <a:pt x="412496" y="52933"/>
                  </a:lnTo>
                  <a:lnTo>
                    <a:pt x="411530" y="45631"/>
                  </a:lnTo>
                  <a:lnTo>
                    <a:pt x="409295" y="38722"/>
                  </a:lnTo>
                  <a:lnTo>
                    <a:pt x="380542" y="6565"/>
                  </a:lnTo>
                  <a:lnTo>
                    <a:pt x="290195" y="0"/>
                  </a:lnTo>
                  <a:lnTo>
                    <a:pt x="286346" y="393"/>
                  </a:lnTo>
                  <a:lnTo>
                    <a:pt x="248081" y="20281"/>
                  </a:lnTo>
                  <a:lnTo>
                    <a:pt x="218008" y="63055"/>
                  </a:lnTo>
                  <a:lnTo>
                    <a:pt x="218008" y="63957"/>
                  </a:lnTo>
                  <a:lnTo>
                    <a:pt x="230987" y="72872"/>
                  </a:lnTo>
                  <a:lnTo>
                    <a:pt x="231889" y="71666"/>
                  </a:lnTo>
                  <a:lnTo>
                    <a:pt x="232638" y="70815"/>
                  </a:lnTo>
                  <a:lnTo>
                    <a:pt x="257505" y="35090"/>
                  </a:lnTo>
                  <a:lnTo>
                    <a:pt x="292887" y="16725"/>
                  </a:lnTo>
                  <a:lnTo>
                    <a:pt x="355180" y="16738"/>
                  </a:lnTo>
                  <a:lnTo>
                    <a:pt x="389369" y="36804"/>
                  </a:lnTo>
                  <a:lnTo>
                    <a:pt x="396328" y="56464"/>
                  </a:lnTo>
                  <a:lnTo>
                    <a:pt x="395947" y="78066"/>
                  </a:lnTo>
                  <a:lnTo>
                    <a:pt x="395846" y="94361"/>
                  </a:lnTo>
                  <a:lnTo>
                    <a:pt x="395947" y="110629"/>
                  </a:lnTo>
                  <a:lnTo>
                    <a:pt x="396265" y="126860"/>
                  </a:lnTo>
                  <a:lnTo>
                    <a:pt x="395998" y="133210"/>
                  </a:lnTo>
                  <a:lnTo>
                    <a:pt x="370128" y="154965"/>
                  </a:lnTo>
                  <a:lnTo>
                    <a:pt x="369824" y="153111"/>
                  </a:lnTo>
                  <a:lnTo>
                    <a:pt x="369824" y="71120"/>
                  </a:lnTo>
                  <a:lnTo>
                    <a:pt x="368922" y="69062"/>
                  </a:lnTo>
                  <a:lnTo>
                    <a:pt x="353352" y="69062"/>
                  </a:lnTo>
                  <a:lnTo>
                    <a:pt x="353352" y="300913"/>
                  </a:lnTo>
                  <a:lnTo>
                    <a:pt x="369925" y="300913"/>
                  </a:lnTo>
                  <a:lnTo>
                    <a:pt x="369925" y="171792"/>
                  </a:lnTo>
                  <a:lnTo>
                    <a:pt x="376593" y="170980"/>
                  </a:lnTo>
                  <a:lnTo>
                    <a:pt x="410286" y="142354"/>
                  </a:lnTo>
                  <a:lnTo>
                    <a:pt x="412724" y="133083"/>
                  </a:lnTo>
                  <a:lnTo>
                    <a:pt x="413296" y="131978"/>
                  </a:lnTo>
                  <a:lnTo>
                    <a:pt x="413296" y="55384"/>
                  </a:lnTo>
                  <a:close/>
                </a:path>
              </a:pathLst>
            </a:custGeom>
            <a:solidFill>
              <a:srgbClr val="F72E40"/>
            </a:solidFill>
          </p:spPr>
          <p:txBody>
            <a:bodyPr wrap="square" lIns="0" tIns="0" rIns="0" bIns="0" rtlCol="0"/>
            <a:lstStyle/>
            <a:p>
              <a:endParaRPr sz="2118"/>
            </a:p>
          </p:txBody>
        </p:sp>
        <p:pic>
          <p:nvPicPr>
            <p:cNvPr id="16" name="object 16"/>
            <p:cNvPicPr/>
            <p:nvPr/>
          </p:nvPicPr>
          <p:blipFill>
            <a:blip r:embed="rId10" cstate="print"/>
            <a:stretch>
              <a:fillRect/>
            </a:stretch>
          </p:blipFill>
          <p:spPr>
            <a:xfrm>
              <a:off x="2519547" y="1635276"/>
              <a:ext cx="86671" cy="102227"/>
            </a:xfrm>
            <a:prstGeom prst="rect">
              <a:avLst/>
            </a:prstGeom>
          </p:spPr>
        </p:pic>
        <p:pic>
          <p:nvPicPr>
            <p:cNvPr id="17" name="object 17"/>
            <p:cNvPicPr/>
            <p:nvPr/>
          </p:nvPicPr>
          <p:blipFill>
            <a:blip r:embed="rId11" cstate="print"/>
            <a:stretch>
              <a:fillRect/>
            </a:stretch>
          </p:blipFill>
          <p:spPr>
            <a:xfrm>
              <a:off x="2296709" y="1634371"/>
              <a:ext cx="85901" cy="103032"/>
            </a:xfrm>
            <a:prstGeom prst="rect">
              <a:avLst/>
            </a:prstGeom>
          </p:spPr>
        </p:pic>
        <p:sp>
          <p:nvSpPr>
            <p:cNvPr id="18" name="object 18"/>
            <p:cNvSpPr/>
            <p:nvPr/>
          </p:nvSpPr>
          <p:spPr>
            <a:xfrm>
              <a:off x="2686050" y="1746186"/>
              <a:ext cx="414020" cy="301625"/>
            </a:xfrm>
            <a:custGeom>
              <a:avLst/>
              <a:gdLst/>
              <a:ahLst/>
              <a:cxnLst/>
              <a:rect l="l" t="t" r="r" b="b"/>
              <a:pathLst>
                <a:path w="414019" h="301625">
                  <a:moveTo>
                    <a:pt x="103454" y="164325"/>
                  </a:moveTo>
                  <a:lnTo>
                    <a:pt x="87033" y="164325"/>
                  </a:lnTo>
                  <a:lnTo>
                    <a:pt x="87033" y="301358"/>
                  </a:lnTo>
                  <a:lnTo>
                    <a:pt x="103454" y="301358"/>
                  </a:lnTo>
                  <a:lnTo>
                    <a:pt x="103454" y="164325"/>
                  </a:lnTo>
                  <a:close/>
                </a:path>
                <a:path w="414019" h="301625">
                  <a:moveTo>
                    <a:pt x="240106" y="122643"/>
                  </a:moveTo>
                  <a:lnTo>
                    <a:pt x="239407" y="120484"/>
                  </a:lnTo>
                  <a:lnTo>
                    <a:pt x="237744" y="118643"/>
                  </a:lnTo>
                  <a:lnTo>
                    <a:pt x="212140" y="80454"/>
                  </a:lnTo>
                  <a:lnTo>
                    <a:pt x="186207" y="42557"/>
                  </a:lnTo>
                  <a:lnTo>
                    <a:pt x="155676" y="11455"/>
                  </a:lnTo>
                  <a:lnTo>
                    <a:pt x="116332" y="444"/>
                  </a:lnTo>
                  <a:lnTo>
                    <a:pt x="57073" y="444"/>
                  </a:lnTo>
                  <a:lnTo>
                    <a:pt x="53352" y="825"/>
                  </a:lnTo>
                  <a:lnTo>
                    <a:pt x="49669" y="1587"/>
                  </a:lnTo>
                  <a:lnTo>
                    <a:pt x="42583" y="2895"/>
                  </a:lnTo>
                  <a:lnTo>
                    <a:pt x="9131" y="28549"/>
                  </a:lnTo>
                  <a:lnTo>
                    <a:pt x="0" y="55397"/>
                  </a:lnTo>
                  <a:lnTo>
                    <a:pt x="177" y="62598"/>
                  </a:lnTo>
                  <a:lnTo>
                    <a:pt x="330" y="110451"/>
                  </a:lnTo>
                  <a:lnTo>
                    <a:pt x="177" y="126403"/>
                  </a:lnTo>
                  <a:lnTo>
                    <a:pt x="228" y="131152"/>
                  </a:lnTo>
                  <a:lnTo>
                    <a:pt x="977" y="135775"/>
                  </a:lnTo>
                  <a:lnTo>
                    <a:pt x="26517" y="167995"/>
                  </a:lnTo>
                  <a:lnTo>
                    <a:pt x="32245" y="169875"/>
                  </a:lnTo>
                  <a:lnTo>
                    <a:pt x="33248" y="170573"/>
                  </a:lnTo>
                  <a:lnTo>
                    <a:pt x="34709" y="172720"/>
                  </a:lnTo>
                  <a:lnTo>
                    <a:pt x="34975" y="173901"/>
                  </a:lnTo>
                  <a:lnTo>
                    <a:pt x="34785" y="175196"/>
                  </a:lnTo>
                  <a:lnTo>
                    <a:pt x="34785" y="301256"/>
                  </a:lnTo>
                  <a:lnTo>
                    <a:pt x="51269" y="301256"/>
                  </a:lnTo>
                  <a:lnTo>
                    <a:pt x="51523" y="299758"/>
                  </a:lnTo>
                  <a:lnTo>
                    <a:pt x="51523" y="74917"/>
                  </a:lnTo>
                  <a:lnTo>
                    <a:pt x="51701" y="73799"/>
                  </a:lnTo>
                  <a:lnTo>
                    <a:pt x="51701" y="72682"/>
                  </a:lnTo>
                  <a:lnTo>
                    <a:pt x="51523" y="71564"/>
                  </a:lnTo>
                  <a:lnTo>
                    <a:pt x="51269" y="70713"/>
                  </a:lnTo>
                  <a:lnTo>
                    <a:pt x="50317" y="69507"/>
                  </a:lnTo>
                  <a:lnTo>
                    <a:pt x="34988" y="69507"/>
                  </a:lnTo>
                  <a:lnTo>
                    <a:pt x="34988" y="152552"/>
                  </a:lnTo>
                  <a:lnTo>
                    <a:pt x="30073" y="150774"/>
                  </a:lnTo>
                  <a:lnTo>
                    <a:pt x="26035" y="147802"/>
                  </a:lnTo>
                  <a:lnTo>
                    <a:pt x="19697" y="139496"/>
                  </a:lnTo>
                  <a:lnTo>
                    <a:pt x="17894" y="134823"/>
                  </a:lnTo>
                  <a:lnTo>
                    <a:pt x="17462" y="129616"/>
                  </a:lnTo>
                  <a:lnTo>
                    <a:pt x="17487" y="55753"/>
                  </a:lnTo>
                  <a:lnTo>
                    <a:pt x="41389" y="21437"/>
                  </a:lnTo>
                  <a:lnTo>
                    <a:pt x="56045" y="17106"/>
                  </a:lnTo>
                  <a:lnTo>
                    <a:pt x="124269" y="17145"/>
                  </a:lnTo>
                  <a:lnTo>
                    <a:pt x="164020" y="40309"/>
                  </a:lnTo>
                  <a:lnTo>
                    <a:pt x="191579" y="78143"/>
                  </a:lnTo>
                  <a:lnTo>
                    <a:pt x="220472" y="121348"/>
                  </a:lnTo>
                  <a:lnTo>
                    <a:pt x="220624" y="122516"/>
                  </a:lnTo>
                  <a:lnTo>
                    <a:pt x="220218" y="123748"/>
                  </a:lnTo>
                  <a:lnTo>
                    <a:pt x="182943" y="112509"/>
                  </a:lnTo>
                  <a:lnTo>
                    <a:pt x="170611" y="99491"/>
                  </a:lnTo>
                  <a:lnTo>
                    <a:pt x="145834" y="73571"/>
                  </a:lnTo>
                  <a:lnTo>
                    <a:pt x="144081" y="71615"/>
                  </a:lnTo>
                  <a:lnTo>
                    <a:pt x="141935" y="70256"/>
                  </a:lnTo>
                  <a:lnTo>
                    <a:pt x="139420" y="69507"/>
                  </a:lnTo>
                  <a:lnTo>
                    <a:pt x="133667" y="68453"/>
                  </a:lnTo>
                  <a:lnTo>
                    <a:pt x="129806" y="72669"/>
                  </a:lnTo>
                  <a:lnTo>
                    <a:pt x="129806" y="301358"/>
                  </a:lnTo>
                  <a:lnTo>
                    <a:pt x="146189" y="301205"/>
                  </a:lnTo>
                  <a:lnTo>
                    <a:pt x="146088" y="300113"/>
                  </a:lnTo>
                  <a:lnTo>
                    <a:pt x="145834" y="299008"/>
                  </a:lnTo>
                  <a:lnTo>
                    <a:pt x="145834" y="101968"/>
                  </a:lnTo>
                  <a:lnTo>
                    <a:pt x="146088" y="100863"/>
                  </a:lnTo>
                  <a:lnTo>
                    <a:pt x="146088" y="99707"/>
                  </a:lnTo>
                  <a:lnTo>
                    <a:pt x="147180" y="99212"/>
                  </a:lnTo>
                  <a:lnTo>
                    <a:pt x="147967" y="100342"/>
                  </a:lnTo>
                  <a:lnTo>
                    <a:pt x="149694" y="102463"/>
                  </a:lnTo>
                  <a:lnTo>
                    <a:pt x="182753" y="137528"/>
                  </a:lnTo>
                  <a:lnTo>
                    <a:pt x="185597" y="140906"/>
                  </a:lnTo>
                  <a:lnTo>
                    <a:pt x="189014" y="143548"/>
                  </a:lnTo>
                  <a:lnTo>
                    <a:pt x="197002" y="147358"/>
                  </a:lnTo>
                  <a:lnTo>
                    <a:pt x="201206" y="148348"/>
                  </a:lnTo>
                  <a:lnTo>
                    <a:pt x="210058" y="148501"/>
                  </a:lnTo>
                  <a:lnTo>
                    <a:pt x="214287" y="147650"/>
                  </a:lnTo>
                  <a:lnTo>
                    <a:pt x="222402" y="144132"/>
                  </a:lnTo>
                  <a:lnTo>
                    <a:pt x="225920" y="141605"/>
                  </a:lnTo>
                  <a:lnTo>
                    <a:pt x="228879" y="138328"/>
                  </a:lnTo>
                  <a:lnTo>
                    <a:pt x="236334" y="130962"/>
                  </a:lnTo>
                  <a:lnTo>
                    <a:pt x="238379" y="129540"/>
                  </a:lnTo>
                  <a:lnTo>
                    <a:pt x="239547" y="127596"/>
                  </a:lnTo>
                  <a:lnTo>
                    <a:pt x="240106" y="122643"/>
                  </a:lnTo>
                  <a:close/>
                </a:path>
                <a:path w="414019" h="301625">
                  <a:moveTo>
                    <a:pt x="275437" y="76606"/>
                  </a:moveTo>
                  <a:lnTo>
                    <a:pt x="275018" y="74777"/>
                  </a:lnTo>
                  <a:lnTo>
                    <a:pt x="272872" y="71437"/>
                  </a:lnTo>
                  <a:lnTo>
                    <a:pt x="271399" y="70294"/>
                  </a:lnTo>
                  <a:lnTo>
                    <a:pt x="267614" y="69075"/>
                  </a:lnTo>
                  <a:lnTo>
                    <a:pt x="265747" y="69138"/>
                  </a:lnTo>
                  <a:lnTo>
                    <a:pt x="262051" y="70599"/>
                  </a:lnTo>
                  <a:lnTo>
                    <a:pt x="260642" y="71831"/>
                  </a:lnTo>
                  <a:lnTo>
                    <a:pt x="259676" y="73571"/>
                  </a:lnTo>
                  <a:lnTo>
                    <a:pt x="255752" y="78651"/>
                  </a:lnTo>
                  <a:lnTo>
                    <a:pt x="234784" y="106718"/>
                  </a:lnTo>
                  <a:lnTo>
                    <a:pt x="248005" y="116738"/>
                  </a:lnTo>
                  <a:lnTo>
                    <a:pt x="258025" y="103924"/>
                  </a:lnTo>
                  <a:lnTo>
                    <a:pt x="258978" y="104419"/>
                  </a:lnTo>
                  <a:lnTo>
                    <a:pt x="258978" y="301358"/>
                  </a:lnTo>
                  <a:lnTo>
                    <a:pt x="275209" y="301409"/>
                  </a:lnTo>
                  <a:lnTo>
                    <a:pt x="275209" y="78574"/>
                  </a:lnTo>
                  <a:lnTo>
                    <a:pt x="275437" y="76606"/>
                  </a:lnTo>
                  <a:close/>
                </a:path>
                <a:path w="414019" h="301625">
                  <a:moveTo>
                    <a:pt x="327291" y="164325"/>
                  </a:moveTo>
                  <a:lnTo>
                    <a:pt x="310769" y="164325"/>
                  </a:lnTo>
                  <a:lnTo>
                    <a:pt x="310769" y="301358"/>
                  </a:lnTo>
                  <a:lnTo>
                    <a:pt x="327291" y="301358"/>
                  </a:lnTo>
                  <a:lnTo>
                    <a:pt x="327291" y="164325"/>
                  </a:lnTo>
                  <a:close/>
                </a:path>
                <a:path w="414019" h="301625">
                  <a:moveTo>
                    <a:pt x="413397" y="55333"/>
                  </a:moveTo>
                  <a:lnTo>
                    <a:pt x="413042" y="54546"/>
                  </a:lnTo>
                  <a:lnTo>
                    <a:pt x="412546" y="52882"/>
                  </a:lnTo>
                  <a:lnTo>
                    <a:pt x="411568" y="45593"/>
                  </a:lnTo>
                  <a:lnTo>
                    <a:pt x="409346" y="38696"/>
                  </a:lnTo>
                  <a:lnTo>
                    <a:pt x="380669" y="6578"/>
                  </a:lnTo>
                  <a:lnTo>
                    <a:pt x="290360" y="0"/>
                  </a:lnTo>
                  <a:lnTo>
                    <a:pt x="286524" y="381"/>
                  </a:lnTo>
                  <a:lnTo>
                    <a:pt x="248246" y="20281"/>
                  </a:lnTo>
                  <a:lnTo>
                    <a:pt x="218211" y="63042"/>
                  </a:lnTo>
                  <a:lnTo>
                    <a:pt x="218211" y="63944"/>
                  </a:lnTo>
                  <a:lnTo>
                    <a:pt x="231228" y="72859"/>
                  </a:lnTo>
                  <a:lnTo>
                    <a:pt x="232829" y="70815"/>
                  </a:lnTo>
                  <a:lnTo>
                    <a:pt x="244551" y="52743"/>
                  </a:lnTo>
                  <a:lnTo>
                    <a:pt x="252857" y="40944"/>
                  </a:lnTo>
                  <a:lnTo>
                    <a:pt x="284543" y="17564"/>
                  </a:lnTo>
                  <a:lnTo>
                    <a:pt x="293090" y="16713"/>
                  </a:lnTo>
                  <a:lnTo>
                    <a:pt x="359181" y="16751"/>
                  </a:lnTo>
                  <a:lnTo>
                    <a:pt x="391604" y="39230"/>
                  </a:lnTo>
                  <a:lnTo>
                    <a:pt x="396735" y="55918"/>
                  </a:lnTo>
                  <a:lnTo>
                    <a:pt x="396519" y="61798"/>
                  </a:lnTo>
                  <a:lnTo>
                    <a:pt x="396201" y="78117"/>
                  </a:lnTo>
                  <a:lnTo>
                    <a:pt x="396087" y="94399"/>
                  </a:lnTo>
                  <a:lnTo>
                    <a:pt x="396201" y="110667"/>
                  </a:lnTo>
                  <a:lnTo>
                    <a:pt x="396519" y="126911"/>
                  </a:lnTo>
                  <a:lnTo>
                    <a:pt x="396240" y="133248"/>
                  </a:lnTo>
                  <a:lnTo>
                    <a:pt x="370370" y="155003"/>
                  </a:lnTo>
                  <a:lnTo>
                    <a:pt x="370078" y="153149"/>
                  </a:lnTo>
                  <a:lnTo>
                    <a:pt x="370027" y="71564"/>
                  </a:lnTo>
                  <a:lnTo>
                    <a:pt x="369176" y="69507"/>
                  </a:lnTo>
                  <a:lnTo>
                    <a:pt x="353542" y="69507"/>
                  </a:lnTo>
                  <a:lnTo>
                    <a:pt x="353542" y="301358"/>
                  </a:lnTo>
                  <a:lnTo>
                    <a:pt x="369976" y="300863"/>
                  </a:lnTo>
                  <a:lnTo>
                    <a:pt x="369976" y="171742"/>
                  </a:lnTo>
                  <a:lnTo>
                    <a:pt x="376643" y="170929"/>
                  </a:lnTo>
                  <a:lnTo>
                    <a:pt x="410362" y="142290"/>
                  </a:lnTo>
                  <a:lnTo>
                    <a:pt x="412826" y="133019"/>
                  </a:lnTo>
                  <a:lnTo>
                    <a:pt x="413397" y="131914"/>
                  </a:lnTo>
                  <a:lnTo>
                    <a:pt x="413397" y="55333"/>
                  </a:lnTo>
                  <a:close/>
                </a:path>
              </a:pathLst>
            </a:custGeom>
            <a:solidFill>
              <a:srgbClr val="F72E40"/>
            </a:solidFill>
          </p:spPr>
          <p:txBody>
            <a:bodyPr wrap="square" lIns="0" tIns="0" rIns="0" bIns="0" rtlCol="0"/>
            <a:lstStyle/>
            <a:p>
              <a:endParaRPr sz="2118"/>
            </a:p>
          </p:txBody>
        </p:sp>
        <p:pic>
          <p:nvPicPr>
            <p:cNvPr id="19" name="object 19"/>
            <p:cNvPicPr/>
            <p:nvPr/>
          </p:nvPicPr>
          <p:blipFill>
            <a:blip r:embed="rId12" cstate="print"/>
            <a:stretch>
              <a:fillRect/>
            </a:stretch>
          </p:blipFill>
          <p:spPr>
            <a:xfrm>
              <a:off x="2738732" y="1634371"/>
              <a:ext cx="85894" cy="103031"/>
            </a:xfrm>
            <a:prstGeom prst="rect">
              <a:avLst/>
            </a:prstGeom>
          </p:spPr>
        </p:pic>
        <p:pic>
          <p:nvPicPr>
            <p:cNvPr id="20" name="object 20"/>
            <p:cNvPicPr/>
            <p:nvPr/>
          </p:nvPicPr>
          <p:blipFill>
            <a:blip r:embed="rId13" cstate="print"/>
            <a:stretch>
              <a:fillRect/>
            </a:stretch>
          </p:blipFill>
          <p:spPr>
            <a:xfrm>
              <a:off x="2961564" y="1635276"/>
              <a:ext cx="86671" cy="102227"/>
            </a:xfrm>
            <a:prstGeom prst="rect">
              <a:avLst/>
            </a:prstGeom>
          </p:spPr>
        </p:pic>
        <p:sp>
          <p:nvSpPr>
            <p:cNvPr id="21" name="object 21"/>
            <p:cNvSpPr/>
            <p:nvPr/>
          </p:nvSpPr>
          <p:spPr>
            <a:xfrm>
              <a:off x="923531" y="2247506"/>
              <a:ext cx="413384" cy="300990"/>
            </a:xfrm>
            <a:custGeom>
              <a:avLst/>
              <a:gdLst/>
              <a:ahLst/>
              <a:cxnLst/>
              <a:rect l="l" t="t" r="r" b="b"/>
              <a:pathLst>
                <a:path w="413384" h="300989">
                  <a:moveTo>
                    <a:pt x="102870" y="163868"/>
                  </a:moveTo>
                  <a:lnTo>
                    <a:pt x="86436" y="163868"/>
                  </a:lnTo>
                  <a:lnTo>
                    <a:pt x="86436" y="300913"/>
                  </a:lnTo>
                  <a:lnTo>
                    <a:pt x="102870" y="300913"/>
                  </a:lnTo>
                  <a:lnTo>
                    <a:pt x="102870" y="163868"/>
                  </a:lnTo>
                  <a:close/>
                </a:path>
                <a:path w="413384" h="300989">
                  <a:moveTo>
                    <a:pt x="240334" y="122288"/>
                  </a:moveTo>
                  <a:lnTo>
                    <a:pt x="239623" y="120129"/>
                  </a:lnTo>
                  <a:lnTo>
                    <a:pt x="237959" y="118287"/>
                  </a:lnTo>
                  <a:lnTo>
                    <a:pt x="212394" y="80098"/>
                  </a:lnTo>
                  <a:lnTo>
                    <a:pt x="186461" y="42214"/>
                  </a:lnTo>
                  <a:lnTo>
                    <a:pt x="155676" y="11112"/>
                  </a:lnTo>
                  <a:lnTo>
                    <a:pt x="116344" y="88"/>
                  </a:lnTo>
                  <a:lnTo>
                    <a:pt x="102476" y="190"/>
                  </a:lnTo>
                  <a:lnTo>
                    <a:pt x="57048" y="88"/>
                  </a:lnTo>
                  <a:lnTo>
                    <a:pt x="53340" y="482"/>
                  </a:lnTo>
                  <a:lnTo>
                    <a:pt x="49682" y="1244"/>
                  </a:lnTo>
                  <a:lnTo>
                    <a:pt x="42595" y="2540"/>
                  </a:lnTo>
                  <a:lnTo>
                    <a:pt x="9131" y="28194"/>
                  </a:lnTo>
                  <a:lnTo>
                    <a:pt x="0" y="55041"/>
                  </a:lnTo>
                  <a:lnTo>
                    <a:pt x="190" y="62242"/>
                  </a:lnTo>
                  <a:lnTo>
                    <a:pt x="355" y="110096"/>
                  </a:lnTo>
                  <a:lnTo>
                    <a:pt x="190" y="126060"/>
                  </a:lnTo>
                  <a:lnTo>
                    <a:pt x="228" y="130771"/>
                  </a:lnTo>
                  <a:lnTo>
                    <a:pt x="977" y="135382"/>
                  </a:lnTo>
                  <a:lnTo>
                    <a:pt x="26301" y="167525"/>
                  </a:lnTo>
                  <a:lnTo>
                    <a:pt x="32016" y="169418"/>
                  </a:lnTo>
                  <a:lnTo>
                    <a:pt x="33032" y="170103"/>
                  </a:lnTo>
                  <a:lnTo>
                    <a:pt x="34518" y="172262"/>
                  </a:lnTo>
                  <a:lnTo>
                    <a:pt x="34785" y="173443"/>
                  </a:lnTo>
                  <a:lnTo>
                    <a:pt x="34607" y="174739"/>
                  </a:lnTo>
                  <a:lnTo>
                    <a:pt x="34607" y="300812"/>
                  </a:lnTo>
                  <a:lnTo>
                    <a:pt x="50977" y="300812"/>
                  </a:lnTo>
                  <a:lnTo>
                    <a:pt x="50977" y="74472"/>
                  </a:lnTo>
                  <a:lnTo>
                    <a:pt x="51155" y="73355"/>
                  </a:lnTo>
                  <a:lnTo>
                    <a:pt x="51155" y="72224"/>
                  </a:lnTo>
                  <a:lnTo>
                    <a:pt x="50977" y="71107"/>
                  </a:lnTo>
                  <a:lnTo>
                    <a:pt x="50685" y="70256"/>
                  </a:lnTo>
                  <a:lnTo>
                    <a:pt x="49733" y="69062"/>
                  </a:lnTo>
                  <a:lnTo>
                    <a:pt x="34455" y="69062"/>
                  </a:lnTo>
                  <a:lnTo>
                    <a:pt x="34455" y="152107"/>
                  </a:lnTo>
                  <a:lnTo>
                    <a:pt x="29527" y="150329"/>
                  </a:lnTo>
                  <a:lnTo>
                    <a:pt x="25476" y="147358"/>
                  </a:lnTo>
                  <a:lnTo>
                    <a:pt x="19113" y="139065"/>
                  </a:lnTo>
                  <a:lnTo>
                    <a:pt x="17310" y="134378"/>
                  </a:lnTo>
                  <a:lnTo>
                    <a:pt x="16865" y="129159"/>
                  </a:lnTo>
                  <a:lnTo>
                    <a:pt x="16878" y="55308"/>
                  </a:lnTo>
                  <a:lnTo>
                    <a:pt x="40779" y="20980"/>
                  </a:lnTo>
                  <a:lnTo>
                    <a:pt x="55460" y="16649"/>
                  </a:lnTo>
                  <a:lnTo>
                    <a:pt x="123634" y="16687"/>
                  </a:lnTo>
                  <a:lnTo>
                    <a:pt x="163423" y="39852"/>
                  </a:lnTo>
                  <a:lnTo>
                    <a:pt x="190944" y="77685"/>
                  </a:lnTo>
                  <a:lnTo>
                    <a:pt x="219125" y="119799"/>
                  </a:lnTo>
                  <a:lnTo>
                    <a:pt x="220129" y="122656"/>
                  </a:lnTo>
                  <a:lnTo>
                    <a:pt x="219570" y="123304"/>
                  </a:lnTo>
                  <a:lnTo>
                    <a:pt x="182295" y="112064"/>
                  </a:lnTo>
                  <a:lnTo>
                    <a:pt x="169976" y="99047"/>
                  </a:lnTo>
                  <a:lnTo>
                    <a:pt x="145199" y="73113"/>
                  </a:lnTo>
                  <a:lnTo>
                    <a:pt x="143446" y="71132"/>
                  </a:lnTo>
                  <a:lnTo>
                    <a:pt x="141312" y="69786"/>
                  </a:lnTo>
                  <a:lnTo>
                    <a:pt x="138785" y="69062"/>
                  </a:lnTo>
                  <a:lnTo>
                    <a:pt x="133070" y="68008"/>
                  </a:lnTo>
                  <a:lnTo>
                    <a:pt x="129209" y="72212"/>
                  </a:lnTo>
                  <a:lnTo>
                    <a:pt x="129209" y="300913"/>
                  </a:lnTo>
                  <a:lnTo>
                    <a:pt x="146697" y="300863"/>
                  </a:lnTo>
                  <a:lnTo>
                    <a:pt x="146392" y="298665"/>
                  </a:lnTo>
                  <a:lnTo>
                    <a:pt x="146342" y="99364"/>
                  </a:lnTo>
                  <a:lnTo>
                    <a:pt x="147447" y="98856"/>
                  </a:lnTo>
                  <a:lnTo>
                    <a:pt x="148209" y="99987"/>
                  </a:lnTo>
                  <a:lnTo>
                    <a:pt x="149898" y="102120"/>
                  </a:lnTo>
                  <a:lnTo>
                    <a:pt x="158153" y="110947"/>
                  </a:lnTo>
                  <a:lnTo>
                    <a:pt x="182956" y="137172"/>
                  </a:lnTo>
                  <a:lnTo>
                    <a:pt x="185801" y="140563"/>
                  </a:lnTo>
                  <a:lnTo>
                    <a:pt x="189230" y="143205"/>
                  </a:lnTo>
                  <a:lnTo>
                    <a:pt x="197218" y="147002"/>
                  </a:lnTo>
                  <a:lnTo>
                    <a:pt x="201422" y="147993"/>
                  </a:lnTo>
                  <a:lnTo>
                    <a:pt x="210261" y="148145"/>
                  </a:lnTo>
                  <a:lnTo>
                    <a:pt x="214503" y="147307"/>
                  </a:lnTo>
                  <a:lnTo>
                    <a:pt x="222618" y="143776"/>
                  </a:lnTo>
                  <a:lnTo>
                    <a:pt x="226123" y="141262"/>
                  </a:lnTo>
                  <a:lnTo>
                    <a:pt x="229095" y="137972"/>
                  </a:lnTo>
                  <a:lnTo>
                    <a:pt x="231597" y="135623"/>
                  </a:lnTo>
                  <a:lnTo>
                    <a:pt x="236601" y="130619"/>
                  </a:lnTo>
                  <a:lnTo>
                    <a:pt x="238633" y="129184"/>
                  </a:lnTo>
                  <a:lnTo>
                    <a:pt x="239788" y="127228"/>
                  </a:lnTo>
                  <a:lnTo>
                    <a:pt x="240334" y="122288"/>
                  </a:lnTo>
                  <a:close/>
                </a:path>
                <a:path w="413384" h="300989">
                  <a:moveTo>
                    <a:pt x="274929" y="76136"/>
                  </a:moveTo>
                  <a:lnTo>
                    <a:pt x="274523" y="74282"/>
                  </a:lnTo>
                  <a:lnTo>
                    <a:pt x="272376" y="70891"/>
                  </a:lnTo>
                  <a:lnTo>
                    <a:pt x="270878" y="69735"/>
                  </a:lnTo>
                  <a:lnTo>
                    <a:pt x="267055" y="68503"/>
                  </a:lnTo>
                  <a:lnTo>
                    <a:pt x="265163" y="68567"/>
                  </a:lnTo>
                  <a:lnTo>
                    <a:pt x="261442" y="70078"/>
                  </a:lnTo>
                  <a:lnTo>
                    <a:pt x="260032" y="71335"/>
                  </a:lnTo>
                  <a:lnTo>
                    <a:pt x="259092" y="73113"/>
                  </a:lnTo>
                  <a:lnTo>
                    <a:pt x="255155" y="78193"/>
                  </a:lnTo>
                  <a:lnTo>
                    <a:pt x="234200" y="106273"/>
                  </a:lnTo>
                  <a:lnTo>
                    <a:pt x="247421" y="116293"/>
                  </a:lnTo>
                  <a:lnTo>
                    <a:pt x="257441" y="103466"/>
                  </a:lnTo>
                  <a:lnTo>
                    <a:pt x="258343" y="103974"/>
                  </a:lnTo>
                  <a:lnTo>
                    <a:pt x="258343" y="300913"/>
                  </a:lnTo>
                  <a:lnTo>
                    <a:pt x="274662" y="300761"/>
                  </a:lnTo>
                  <a:lnTo>
                    <a:pt x="274662" y="78117"/>
                  </a:lnTo>
                  <a:lnTo>
                    <a:pt x="274929" y="76136"/>
                  </a:lnTo>
                  <a:close/>
                </a:path>
                <a:path w="413384" h="300989">
                  <a:moveTo>
                    <a:pt x="326656" y="163868"/>
                  </a:moveTo>
                  <a:lnTo>
                    <a:pt x="310184" y="163868"/>
                  </a:lnTo>
                  <a:lnTo>
                    <a:pt x="310184" y="300913"/>
                  </a:lnTo>
                  <a:lnTo>
                    <a:pt x="326656" y="300913"/>
                  </a:lnTo>
                  <a:lnTo>
                    <a:pt x="326656" y="163868"/>
                  </a:lnTo>
                  <a:close/>
                </a:path>
                <a:path w="413384" h="300989">
                  <a:moveTo>
                    <a:pt x="413004" y="55333"/>
                  </a:moveTo>
                  <a:lnTo>
                    <a:pt x="412661" y="54546"/>
                  </a:lnTo>
                  <a:lnTo>
                    <a:pt x="412203" y="52882"/>
                  </a:lnTo>
                  <a:lnTo>
                    <a:pt x="411226" y="45567"/>
                  </a:lnTo>
                  <a:lnTo>
                    <a:pt x="408990" y="38658"/>
                  </a:lnTo>
                  <a:lnTo>
                    <a:pt x="380149" y="6502"/>
                  </a:lnTo>
                  <a:lnTo>
                    <a:pt x="359181" y="0"/>
                  </a:lnTo>
                  <a:lnTo>
                    <a:pt x="289763" y="0"/>
                  </a:lnTo>
                  <a:lnTo>
                    <a:pt x="252501" y="15773"/>
                  </a:lnTo>
                  <a:lnTo>
                    <a:pt x="228244" y="46697"/>
                  </a:lnTo>
                  <a:lnTo>
                    <a:pt x="217563" y="63042"/>
                  </a:lnTo>
                  <a:lnTo>
                    <a:pt x="217563" y="63944"/>
                  </a:lnTo>
                  <a:lnTo>
                    <a:pt x="230543" y="72859"/>
                  </a:lnTo>
                  <a:lnTo>
                    <a:pt x="232791" y="69913"/>
                  </a:lnTo>
                  <a:lnTo>
                    <a:pt x="243890" y="52743"/>
                  </a:lnTo>
                  <a:lnTo>
                    <a:pt x="252196" y="40932"/>
                  </a:lnTo>
                  <a:lnTo>
                    <a:pt x="283908" y="17551"/>
                  </a:lnTo>
                  <a:lnTo>
                    <a:pt x="292442" y="16713"/>
                  </a:lnTo>
                  <a:lnTo>
                    <a:pt x="354774" y="16738"/>
                  </a:lnTo>
                  <a:lnTo>
                    <a:pt x="388962" y="36791"/>
                  </a:lnTo>
                  <a:lnTo>
                    <a:pt x="395935" y="56451"/>
                  </a:lnTo>
                  <a:lnTo>
                    <a:pt x="395579" y="78066"/>
                  </a:lnTo>
                  <a:lnTo>
                    <a:pt x="395478" y="94348"/>
                  </a:lnTo>
                  <a:lnTo>
                    <a:pt x="395579" y="110617"/>
                  </a:lnTo>
                  <a:lnTo>
                    <a:pt x="395884" y="126860"/>
                  </a:lnTo>
                  <a:lnTo>
                    <a:pt x="395605" y="133197"/>
                  </a:lnTo>
                  <a:lnTo>
                    <a:pt x="369735" y="154952"/>
                  </a:lnTo>
                  <a:lnTo>
                    <a:pt x="369430" y="153098"/>
                  </a:lnTo>
                  <a:lnTo>
                    <a:pt x="369430" y="71107"/>
                  </a:lnTo>
                  <a:lnTo>
                    <a:pt x="368528" y="69062"/>
                  </a:lnTo>
                  <a:lnTo>
                    <a:pt x="352958" y="69062"/>
                  </a:lnTo>
                  <a:lnTo>
                    <a:pt x="352958" y="300913"/>
                  </a:lnTo>
                  <a:lnTo>
                    <a:pt x="369633" y="300863"/>
                  </a:lnTo>
                  <a:lnTo>
                    <a:pt x="369633" y="171742"/>
                  </a:lnTo>
                  <a:lnTo>
                    <a:pt x="376301" y="170929"/>
                  </a:lnTo>
                  <a:lnTo>
                    <a:pt x="409994" y="142303"/>
                  </a:lnTo>
                  <a:lnTo>
                    <a:pt x="412432" y="133019"/>
                  </a:lnTo>
                  <a:lnTo>
                    <a:pt x="413004" y="131914"/>
                  </a:lnTo>
                  <a:lnTo>
                    <a:pt x="413004" y="55333"/>
                  </a:lnTo>
                  <a:close/>
                </a:path>
              </a:pathLst>
            </a:custGeom>
            <a:solidFill>
              <a:srgbClr val="F72E40"/>
            </a:solidFill>
          </p:spPr>
          <p:txBody>
            <a:bodyPr wrap="square" lIns="0" tIns="0" rIns="0" bIns="0" rtlCol="0"/>
            <a:lstStyle/>
            <a:p>
              <a:endParaRPr sz="2118"/>
            </a:p>
          </p:txBody>
        </p:sp>
        <p:pic>
          <p:nvPicPr>
            <p:cNvPr id="22" name="object 22"/>
            <p:cNvPicPr/>
            <p:nvPr/>
          </p:nvPicPr>
          <p:blipFill>
            <a:blip r:embed="rId14" cstate="print"/>
            <a:stretch>
              <a:fillRect/>
            </a:stretch>
          </p:blipFill>
          <p:spPr>
            <a:xfrm>
              <a:off x="975489" y="2135239"/>
              <a:ext cx="86029" cy="103032"/>
            </a:xfrm>
            <a:prstGeom prst="rect">
              <a:avLst/>
            </a:prstGeom>
          </p:spPr>
        </p:pic>
        <p:pic>
          <p:nvPicPr>
            <p:cNvPr id="23" name="object 23"/>
            <p:cNvPicPr/>
            <p:nvPr/>
          </p:nvPicPr>
          <p:blipFill>
            <a:blip r:embed="rId5" cstate="print"/>
            <a:stretch>
              <a:fillRect/>
            </a:stretch>
          </p:blipFill>
          <p:spPr>
            <a:xfrm>
              <a:off x="1198406" y="2136145"/>
              <a:ext cx="86716" cy="102227"/>
            </a:xfrm>
            <a:prstGeom prst="rect">
              <a:avLst/>
            </a:prstGeom>
          </p:spPr>
        </p:pic>
        <p:sp>
          <p:nvSpPr>
            <p:cNvPr id="24" name="object 24"/>
            <p:cNvSpPr/>
            <p:nvPr/>
          </p:nvSpPr>
          <p:spPr>
            <a:xfrm>
              <a:off x="918527" y="2753385"/>
              <a:ext cx="413384" cy="300990"/>
            </a:xfrm>
            <a:custGeom>
              <a:avLst/>
              <a:gdLst/>
              <a:ahLst/>
              <a:cxnLst/>
              <a:rect l="l" t="t" r="r" b="b"/>
              <a:pathLst>
                <a:path w="413384" h="300989">
                  <a:moveTo>
                    <a:pt x="102870" y="163868"/>
                  </a:moveTo>
                  <a:lnTo>
                    <a:pt x="86436" y="163868"/>
                  </a:lnTo>
                  <a:lnTo>
                    <a:pt x="86436" y="300913"/>
                  </a:lnTo>
                  <a:lnTo>
                    <a:pt x="102870" y="300913"/>
                  </a:lnTo>
                  <a:lnTo>
                    <a:pt x="102870" y="163868"/>
                  </a:lnTo>
                  <a:close/>
                </a:path>
                <a:path w="413384" h="300989">
                  <a:moveTo>
                    <a:pt x="240322" y="122288"/>
                  </a:moveTo>
                  <a:lnTo>
                    <a:pt x="239623" y="120129"/>
                  </a:lnTo>
                  <a:lnTo>
                    <a:pt x="237947" y="118287"/>
                  </a:lnTo>
                  <a:lnTo>
                    <a:pt x="212394" y="80098"/>
                  </a:lnTo>
                  <a:lnTo>
                    <a:pt x="186461" y="42214"/>
                  </a:lnTo>
                  <a:lnTo>
                    <a:pt x="155676" y="11112"/>
                  </a:lnTo>
                  <a:lnTo>
                    <a:pt x="116344" y="88"/>
                  </a:lnTo>
                  <a:lnTo>
                    <a:pt x="102463" y="190"/>
                  </a:lnTo>
                  <a:lnTo>
                    <a:pt x="57048" y="88"/>
                  </a:lnTo>
                  <a:lnTo>
                    <a:pt x="53340" y="482"/>
                  </a:lnTo>
                  <a:lnTo>
                    <a:pt x="49669" y="1244"/>
                  </a:lnTo>
                  <a:lnTo>
                    <a:pt x="42583" y="2540"/>
                  </a:lnTo>
                  <a:lnTo>
                    <a:pt x="9118" y="28194"/>
                  </a:lnTo>
                  <a:lnTo>
                    <a:pt x="0" y="55041"/>
                  </a:lnTo>
                  <a:lnTo>
                    <a:pt x="190" y="62242"/>
                  </a:lnTo>
                  <a:lnTo>
                    <a:pt x="355" y="110096"/>
                  </a:lnTo>
                  <a:lnTo>
                    <a:pt x="190" y="126060"/>
                  </a:lnTo>
                  <a:lnTo>
                    <a:pt x="228" y="130771"/>
                  </a:lnTo>
                  <a:lnTo>
                    <a:pt x="977" y="135382"/>
                  </a:lnTo>
                  <a:lnTo>
                    <a:pt x="26301" y="167525"/>
                  </a:lnTo>
                  <a:lnTo>
                    <a:pt x="32016" y="169418"/>
                  </a:lnTo>
                  <a:lnTo>
                    <a:pt x="33032" y="170103"/>
                  </a:lnTo>
                  <a:lnTo>
                    <a:pt x="34505" y="172262"/>
                  </a:lnTo>
                  <a:lnTo>
                    <a:pt x="34785" y="173443"/>
                  </a:lnTo>
                  <a:lnTo>
                    <a:pt x="34594" y="174739"/>
                  </a:lnTo>
                  <a:lnTo>
                    <a:pt x="34594" y="300812"/>
                  </a:lnTo>
                  <a:lnTo>
                    <a:pt x="50977" y="300812"/>
                  </a:lnTo>
                  <a:lnTo>
                    <a:pt x="50977" y="74460"/>
                  </a:lnTo>
                  <a:lnTo>
                    <a:pt x="51155" y="73342"/>
                  </a:lnTo>
                  <a:lnTo>
                    <a:pt x="51155" y="72224"/>
                  </a:lnTo>
                  <a:lnTo>
                    <a:pt x="50977" y="71107"/>
                  </a:lnTo>
                  <a:lnTo>
                    <a:pt x="50673" y="70256"/>
                  </a:lnTo>
                  <a:lnTo>
                    <a:pt x="49720" y="69062"/>
                  </a:lnTo>
                  <a:lnTo>
                    <a:pt x="34442" y="69062"/>
                  </a:lnTo>
                  <a:lnTo>
                    <a:pt x="34442" y="152095"/>
                  </a:lnTo>
                  <a:lnTo>
                    <a:pt x="29527" y="150329"/>
                  </a:lnTo>
                  <a:lnTo>
                    <a:pt x="25476" y="147358"/>
                  </a:lnTo>
                  <a:lnTo>
                    <a:pt x="19113" y="139052"/>
                  </a:lnTo>
                  <a:lnTo>
                    <a:pt x="17297" y="134378"/>
                  </a:lnTo>
                  <a:lnTo>
                    <a:pt x="16865" y="129159"/>
                  </a:lnTo>
                  <a:lnTo>
                    <a:pt x="16878" y="55308"/>
                  </a:lnTo>
                  <a:lnTo>
                    <a:pt x="40779" y="20980"/>
                  </a:lnTo>
                  <a:lnTo>
                    <a:pt x="55448" y="16649"/>
                  </a:lnTo>
                  <a:lnTo>
                    <a:pt x="123621" y="16687"/>
                  </a:lnTo>
                  <a:lnTo>
                    <a:pt x="163423" y="39852"/>
                  </a:lnTo>
                  <a:lnTo>
                    <a:pt x="190931" y="77685"/>
                  </a:lnTo>
                  <a:lnTo>
                    <a:pt x="219113" y="119799"/>
                  </a:lnTo>
                  <a:lnTo>
                    <a:pt x="220116" y="122643"/>
                  </a:lnTo>
                  <a:lnTo>
                    <a:pt x="219570" y="123304"/>
                  </a:lnTo>
                  <a:lnTo>
                    <a:pt x="182295" y="112052"/>
                  </a:lnTo>
                  <a:lnTo>
                    <a:pt x="169964" y="99034"/>
                  </a:lnTo>
                  <a:lnTo>
                    <a:pt x="145186" y="73113"/>
                  </a:lnTo>
                  <a:lnTo>
                    <a:pt x="143446" y="71132"/>
                  </a:lnTo>
                  <a:lnTo>
                    <a:pt x="141312" y="69786"/>
                  </a:lnTo>
                  <a:lnTo>
                    <a:pt x="138772" y="69062"/>
                  </a:lnTo>
                  <a:lnTo>
                    <a:pt x="133070" y="68008"/>
                  </a:lnTo>
                  <a:lnTo>
                    <a:pt x="129209" y="72212"/>
                  </a:lnTo>
                  <a:lnTo>
                    <a:pt x="129209" y="300913"/>
                  </a:lnTo>
                  <a:lnTo>
                    <a:pt x="146443" y="300863"/>
                  </a:lnTo>
                  <a:lnTo>
                    <a:pt x="146138" y="298665"/>
                  </a:lnTo>
                  <a:lnTo>
                    <a:pt x="146088" y="101612"/>
                  </a:lnTo>
                  <a:lnTo>
                    <a:pt x="146342" y="100507"/>
                  </a:lnTo>
                  <a:lnTo>
                    <a:pt x="146342" y="99364"/>
                  </a:lnTo>
                  <a:lnTo>
                    <a:pt x="147447" y="98856"/>
                  </a:lnTo>
                  <a:lnTo>
                    <a:pt x="148209" y="99987"/>
                  </a:lnTo>
                  <a:lnTo>
                    <a:pt x="149898" y="102108"/>
                  </a:lnTo>
                  <a:lnTo>
                    <a:pt x="158153" y="110947"/>
                  </a:lnTo>
                  <a:lnTo>
                    <a:pt x="182956" y="137172"/>
                  </a:lnTo>
                  <a:lnTo>
                    <a:pt x="185801" y="140563"/>
                  </a:lnTo>
                  <a:lnTo>
                    <a:pt x="189217" y="143205"/>
                  </a:lnTo>
                  <a:lnTo>
                    <a:pt x="197205" y="147002"/>
                  </a:lnTo>
                  <a:lnTo>
                    <a:pt x="201409" y="147993"/>
                  </a:lnTo>
                  <a:lnTo>
                    <a:pt x="210261" y="148145"/>
                  </a:lnTo>
                  <a:lnTo>
                    <a:pt x="214503" y="147307"/>
                  </a:lnTo>
                  <a:lnTo>
                    <a:pt x="222605" y="143776"/>
                  </a:lnTo>
                  <a:lnTo>
                    <a:pt x="226123" y="141262"/>
                  </a:lnTo>
                  <a:lnTo>
                    <a:pt x="229082" y="137972"/>
                  </a:lnTo>
                  <a:lnTo>
                    <a:pt x="231584" y="135623"/>
                  </a:lnTo>
                  <a:lnTo>
                    <a:pt x="236601" y="130619"/>
                  </a:lnTo>
                  <a:lnTo>
                    <a:pt x="238633" y="129184"/>
                  </a:lnTo>
                  <a:lnTo>
                    <a:pt x="239788" y="127228"/>
                  </a:lnTo>
                  <a:lnTo>
                    <a:pt x="240322" y="122288"/>
                  </a:lnTo>
                  <a:close/>
                </a:path>
                <a:path w="413384" h="300989">
                  <a:moveTo>
                    <a:pt x="274929" y="76123"/>
                  </a:moveTo>
                  <a:lnTo>
                    <a:pt x="274523" y="74282"/>
                  </a:lnTo>
                  <a:lnTo>
                    <a:pt x="272376" y="70891"/>
                  </a:lnTo>
                  <a:lnTo>
                    <a:pt x="270878" y="69723"/>
                  </a:lnTo>
                  <a:lnTo>
                    <a:pt x="267055" y="68503"/>
                  </a:lnTo>
                  <a:lnTo>
                    <a:pt x="265163" y="68567"/>
                  </a:lnTo>
                  <a:lnTo>
                    <a:pt x="261442" y="70078"/>
                  </a:lnTo>
                  <a:lnTo>
                    <a:pt x="260032" y="71335"/>
                  </a:lnTo>
                  <a:lnTo>
                    <a:pt x="259080" y="73113"/>
                  </a:lnTo>
                  <a:lnTo>
                    <a:pt x="255155" y="78193"/>
                  </a:lnTo>
                  <a:lnTo>
                    <a:pt x="234188" y="106273"/>
                  </a:lnTo>
                  <a:lnTo>
                    <a:pt x="247421" y="116293"/>
                  </a:lnTo>
                  <a:lnTo>
                    <a:pt x="257429" y="103466"/>
                  </a:lnTo>
                  <a:lnTo>
                    <a:pt x="258330" y="103962"/>
                  </a:lnTo>
                  <a:lnTo>
                    <a:pt x="258330" y="300913"/>
                  </a:lnTo>
                  <a:lnTo>
                    <a:pt x="274662" y="300761"/>
                  </a:lnTo>
                  <a:lnTo>
                    <a:pt x="274662" y="78117"/>
                  </a:lnTo>
                  <a:lnTo>
                    <a:pt x="274929" y="76123"/>
                  </a:lnTo>
                  <a:close/>
                </a:path>
                <a:path w="413384" h="300989">
                  <a:moveTo>
                    <a:pt x="326656" y="163868"/>
                  </a:moveTo>
                  <a:lnTo>
                    <a:pt x="310172" y="163868"/>
                  </a:lnTo>
                  <a:lnTo>
                    <a:pt x="310172" y="300913"/>
                  </a:lnTo>
                  <a:lnTo>
                    <a:pt x="326656" y="300913"/>
                  </a:lnTo>
                  <a:lnTo>
                    <a:pt x="326656" y="163868"/>
                  </a:lnTo>
                  <a:close/>
                </a:path>
                <a:path w="413384" h="300989">
                  <a:moveTo>
                    <a:pt x="413004" y="55333"/>
                  </a:moveTo>
                  <a:lnTo>
                    <a:pt x="412661" y="54533"/>
                  </a:lnTo>
                  <a:lnTo>
                    <a:pt x="412203" y="52882"/>
                  </a:lnTo>
                  <a:lnTo>
                    <a:pt x="411226" y="45567"/>
                  </a:lnTo>
                  <a:lnTo>
                    <a:pt x="408978" y="38646"/>
                  </a:lnTo>
                  <a:lnTo>
                    <a:pt x="380136" y="6502"/>
                  </a:lnTo>
                  <a:lnTo>
                    <a:pt x="359181" y="0"/>
                  </a:lnTo>
                  <a:lnTo>
                    <a:pt x="289750" y="0"/>
                  </a:lnTo>
                  <a:lnTo>
                    <a:pt x="252501" y="15773"/>
                  </a:lnTo>
                  <a:lnTo>
                    <a:pt x="228244" y="46697"/>
                  </a:lnTo>
                  <a:lnTo>
                    <a:pt x="217563" y="63042"/>
                  </a:lnTo>
                  <a:lnTo>
                    <a:pt x="217563" y="63944"/>
                  </a:lnTo>
                  <a:lnTo>
                    <a:pt x="230530" y="72859"/>
                  </a:lnTo>
                  <a:lnTo>
                    <a:pt x="232791" y="69913"/>
                  </a:lnTo>
                  <a:lnTo>
                    <a:pt x="243890" y="52743"/>
                  </a:lnTo>
                  <a:lnTo>
                    <a:pt x="252196" y="40932"/>
                  </a:lnTo>
                  <a:lnTo>
                    <a:pt x="283895" y="17551"/>
                  </a:lnTo>
                  <a:lnTo>
                    <a:pt x="292442" y="16713"/>
                  </a:lnTo>
                  <a:lnTo>
                    <a:pt x="354761" y="16725"/>
                  </a:lnTo>
                  <a:lnTo>
                    <a:pt x="388962" y="36791"/>
                  </a:lnTo>
                  <a:lnTo>
                    <a:pt x="395935" y="56451"/>
                  </a:lnTo>
                  <a:lnTo>
                    <a:pt x="395566" y="78054"/>
                  </a:lnTo>
                  <a:lnTo>
                    <a:pt x="395478" y="94348"/>
                  </a:lnTo>
                  <a:lnTo>
                    <a:pt x="395566" y="110617"/>
                  </a:lnTo>
                  <a:lnTo>
                    <a:pt x="395871" y="126860"/>
                  </a:lnTo>
                  <a:lnTo>
                    <a:pt x="395592" y="133197"/>
                  </a:lnTo>
                  <a:lnTo>
                    <a:pt x="369722" y="154952"/>
                  </a:lnTo>
                  <a:lnTo>
                    <a:pt x="369430" y="153098"/>
                  </a:lnTo>
                  <a:lnTo>
                    <a:pt x="369430" y="71107"/>
                  </a:lnTo>
                  <a:lnTo>
                    <a:pt x="368528" y="69062"/>
                  </a:lnTo>
                  <a:lnTo>
                    <a:pt x="352945" y="69062"/>
                  </a:lnTo>
                  <a:lnTo>
                    <a:pt x="352945" y="300913"/>
                  </a:lnTo>
                  <a:lnTo>
                    <a:pt x="369633" y="300863"/>
                  </a:lnTo>
                  <a:lnTo>
                    <a:pt x="369633" y="171729"/>
                  </a:lnTo>
                  <a:lnTo>
                    <a:pt x="376288" y="170929"/>
                  </a:lnTo>
                  <a:lnTo>
                    <a:pt x="409994" y="142303"/>
                  </a:lnTo>
                  <a:lnTo>
                    <a:pt x="412432" y="133019"/>
                  </a:lnTo>
                  <a:lnTo>
                    <a:pt x="413004" y="131914"/>
                  </a:lnTo>
                  <a:lnTo>
                    <a:pt x="413004" y="55333"/>
                  </a:lnTo>
                  <a:close/>
                </a:path>
              </a:pathLst>
            </a:custGeom>
            <a:solidFill>
              <a:srgbClr val="F72E40"/>
            </a:solidFill>
          </p:spPr>
          <p:txBody>
            <a:bodyPr wrap="square" lIns="0" tIns="0" rIns="0" bIns="0" rtlCol="0"/>
            <a:lstStyle/>
            <a:p>
              <a:endParaRPr sz="2118"/>
            </a:p>
          </p:txBody>
        </p:sp>
        <p:pic>
          <p:nvPicPr>
            <p:cNvPr id="25" name="object 25"/>
            <p:cNvPicPr/>
            <p:nvPr/>
          </p:nvPicPr>
          <p:blipFill>
            <a:blip r:embed="rId15" cstate="print"/>
            <a:stretch>
              <a:fillRect/>
            </a:stretch>
          </p:blipFill>
          <p:spPr>
            <a:xfrm>
              <a:off x="970480" y="2641117"/>
              <a:ext cx="86029" cy="103032"/>
            </a:xfrm>
            <a:prstGeom prst="rect">
              <a:avLst/>
            </a:prstGeom>
          </p:spPr>
        </p:pic>
        <p:pic>
          <p:nvPicPr>
            <p:cNvPr id="26" name="object 26"/>
            <p:cNvPicPr/>
            <p:nvPr/>
          </p:nvPicPr>
          <p:blipFill>
            <a:blip r:embed="rId16" cstate="print"/>
            <a:stretch>
              <a:fillRect/>
            </a:stretch>
          </p:blipFill>
          <p:spPr>
            <a:xfrm>
              <a:off x="1193397" y="2642022"/>
              <a:ext cx="86716" cy="102227"/>
            </a:xfrm>
            <a:prstGeom prst="rect">
              <a:avLst/>
            </a:prstGeom>
          </p:spPr>
        </p:pic>
        <p:sp>
          <p:nvSpPr>
            <p:cNvPr id="27" name="object 27"/>
            <p:cNvSpPr/>
            <p:nvPr/>
          </p:nvSpPr>
          <p:spPr>
            <a:xfrm>
              <a:off x="908507" y="3264268"/>
              <a:ext cx="413384" cy="300990"/>
            </a:xfrm>
            <a:custGeom>
              <a:avLst/>
              <a:gdLst/>
              <a:ahLst/>
              <a:cxnLst/>
              <a:rect l="l" t="t" r="r" b="b"/>
              <a:pathLst>
                <a:path w="413384" h="300989">
                  <a:moveTo>
                    <a:pt x="102870" y="163880"/>
                  </a:moveTo>
                  <a:lnTo>
                    <a:pt x="86436" y="163880"/>
                  </a:lnTo>
                  <a:lnTo>
                    <a:pt x="86436" y="300913"/>
                  </a:lnTo>
                  <a:lnTo>
                    <a:pt x="102870" y="300913"/>
                  </a:lnTo>
                  <a:lnTo>
                    <a:pt x="102870" y="163880"/>
                  </a:lnTo>
                  <a:close/>
                </a:path>
                <a:path w="413384" h="300989">
                  <a:moveTo>
                    <a:pt x="240423" y="122288"/>
                  </a:moveTo>
                  <a:lnTo>
                    <a:pt x="239725" y="120129"/>
                  </a:lnTo>
                  <a:lnTo>
                    <a:pt x="238048" y="118300"/>
                  </a:lnTo>
                  <a:lnTo>
                    <a:pt x="212496" y="80098"/>
                  </a:lnTo>
                  <a:lnTo>
                    <a:pt x="186563" y="42214"/>
                  </a:lnTo>
                  <a:lnTo>
                    <a:pt x="155778" y="11112"/>
                  </a:lnTo>
                  <a:lnTo>
                    <a:pt x="116446" y="88"/>
                  </a:lnTo>
                  <a:lnTo>
                    <a:pt x="102565" y="190"/>
                  </a:lnTo>
                  <a:lnTo>
                    <a:pt x="57150" y="101"/>
                  </a:lnTo>
                  <a:lnTo>
                    <a:pt x="53441" y="482"/>
                  </a:lnTo>
                  <a:lnTo>
                    <a:pt x="49771" y="1244"/>
                  </a:lnTo>
                  <a:lnTo>
                    <a:pt x="42684" y="2527"/>
                  </a:lnTo>
                  <a:lnTo>
                    <a:pt x="9156" y="28168"/>
                  </a:lnTo>
                  <a:lnTo>
                    <a:pt x="0" y="55041"/>
                  </a:lnTo>
                  <a:lnTo>
                    <a:pt x="190" y="62242"/>
                  </a:lnTo>
                  <a:lnTo>
                    <a:pt x="355" y="110096"/>
                  </a:lnTo>
                  <a:lnTo>
                    <a:pt x="190" y="126060"/>
                  </a:lnTo>
                  <a:lnTo>
                    <a:pt x="228" y="130784"/>
                  </a:lnTo>
                  <a:lnTo>
                    <a:pt x="977" y="135382"/>
                  </a:lnTo>
                  <a:lnTo>
                    <a:pt x="26301" y="167538"/>
                  </a:lnTo>
                  <a:lnTo>
                    <a:pt x="32016" y="169418"/>
                  </a:lnTo>
                  <a:lnTo>
                    <a:pt x="33032" y="170103"/>
                  </a:lnTo>
                  <a:lnTo>
                    <a:pt x="34518" y="172262"/>
                  </a:lnTo>
                  <a:lnTo>
                    <a:pt x="34785" y="173443"/>
                  </a:lnTo>
                  <a:lnTo>
                    <a:pt x="34594" y="174739"/>
                  </a:lnTo>
                  <a:lnTo>
                    <a:pt x="34594" y="300812"/>
                  </a:lnTo>
                  <a:lnTo>
                    <a:pt x="50977" y="300812"/>
                  </a:lnTo>
                  <a:lnTo>
                    <a:pt x="50977" y="74472"/>
                  </a:lnTo>
                  <a:lnTo>
                    <a:pt x="51155" y="73355"/>
                  </a:lnTo>
                  <a:lnTo>
                    <a:pt x="51155" y="72237"/>
                  </a:lnTo>
                  <a:lnTo>
                    <a:pt x="50977" y="71107"/>
                  </a:lnTo>
                  <a:lnTo>
                    <a:pt x="50673" y="70256"/>
                  </a:lnTo>
                  <a:lnTo>
                    <a:pt x="49720" y="69062"/>
                  </a:lnTo>
                  <a:lnTo>
                    <a:pt x="34455" y="69062"/>
                  </a:lnTo>
                  <a:lnTo>
                    <a:pt x="34455" y="152107"/>
                  </a:lnTo>
                  <a:lnTo>
                    <a:pt x="29527" y="150329"/>
                  </a:lnTo>
                  <a:lnTo>
                    <a:pt x="25476" y="147370"/>
                  </a:lnTo>
                  <a:lnTo>
                    <a:pt x="19113" y="139065"/>
                  </a:lnTo>
                  <a:lnTo>
                    <a:pt x="17297" y="134378"/>
                  </a:lnTo>
                  <a:lnTo>
                    <a:pt x="16865" y="129159"/>
                  </a:lnTo>
                  <a:lnTo>
                    <a:pt x="16878" y="55308"/>
                  </a:lnTo>
                  <a:lnTo>
                    <a:pt x="40779" y="20993"/>
                  </a:lnTo>
                  <a:lnTo>
                    <a:pt x="55448" y="16649"/>
                  </a:lnTo>
                  <a:lnTo>
                    <a:pt x="123634" y="16687"/>
                  </a:lnTo>
                  <a:lnTo>
                    <a:pt x="163423" y="39865"/>
                  </a:lnTo>
                  <a:lnTo>
                    <a:pt x="190944" y="77685"/>
                  </a:lnTo>
                  <a:lnTo>
                    <a:pt x="219125" y="119799"/>
                  </a:lnTo>
                  <a:lnTo>
                    <a:pt x="220116" y="122656"/>
                  </a:lnTo>
                  <a:lnTo>
                    <a:pt x="219570" y="123304"/>
                  </a:lnTo>
                  <a:lnTo>
                    <a:pt x="182295" y="112064"/>
                  </a:lnTo>
                  <a:lnTo>
                    <a:pt x="169976" y="99047"/>
                  </a:lnTo>
                  <a:lnTo>
                    <a:pt x="145186" y="73113"/>
                  </a:lnTo>
                  <a:lnTo>
                    <a:pt x="143446" y="71145"/>
                  </a:lnTo>
                  <a:lnTo>
                    <a:pt x="141312" y="69786"/>
                  </a:lnTo>
                  <a:lnTo>
                    <a:pt x="138785" y="69062"/>
                  </a:lnTo>
                  <a:lnTo>
                    <a:pt x="133070" y="68008"/>
                  </a:lnTo>
                  <a:lnTo>
                    <a:pt x="129209" y="72212"/>
                  </a:lnTo>
                  <a:lnTo>
                    <a:pt x="129209" y="300913"/>
                  </a:lnTo>
                  <a:lnTo>
                    <a:pt x="146545" y="300863"/>
                  </a:lnTo>
                  <a:lnTo>
                    <a:pt x="146240" y="298665"/>
                  </a:lnTo>
                  <a:lnTo>
                    <a:pt x="146189" y="101612"/>
                  </a:lnTo>
                  <a:lnTo>
                    <a:pt x="146443" y="100520"/>
                  </a:lnTo>
                  <a:lnTo>
                    <a:pt x="146443" y="99364"/>
                  </a:lnTo>
                  <a:lnTo>
                    <a:pt x="147548" y="98856"/>
                  </a:lnTo>
                  <a:lnTo>
                    <a:pt x="148310" y="99987"/>
                  </a:lnTo>
                  <a:lnTo>
                    <a:pt x="149999" y="102120"/>
                  </a:lnTo>
                  <a:lnTo>
                    <a:pt x="158254" y="110947"/>
                  </a:lnTo>
                  <a:lnTo>
                    <a:pt x="183057" y="137172"/>
                  </a:lnTo>
                  <a:lnTo>
                    <a:pt x="185902" y="140563"/>
                  </a:lnTo>
                  <a:lnTo>
                    <a:pt x="189318" y="143205"/>
                  </a:lnTo>
                  <a:lnTo>
                    <a:pt x="197307" y="147002"/>
                  </a:lnTo>
                  <a:lnTo>
                    <a:pt x="201523" y="147993"/>
                  </a:lnTo>
                  <a:lnTo>
                    <a:pt x="210362" y="148145"/>
                  </a:lnTo>
                  <a:lnTo>
                    <a:pt x="214604" y="147307"/>
                  </a:lnTo>
                  <a:lnTo>
                    <a:pt x="222719" y="143789"/>
                  </a:lnTo>
                  <a:lnTo>
                    <a:pt x="226225" y="141262"/>
                  </a:lnTo>
                  <a:lnTo>
                    <a:pt x="229184" y="137985"/>
                  </a:lnTo>
                  <a:lnTo>
                    <a:pt x="231686" y="135623"/>
                  </a:lnTo>
                  <a:lnTo>
                    <a:pt x="236702" y="130619"/>
                  </a:lnTo>
                  <a:lnTo>
                    <a:pt x="238734" y="129184"/>
                  </a:lnTo>
                  <a:lnTo>
                    <a:pt x="239890" y="127228"/>
                  </a:lnTo>
                  <a:lnTo>
                    <a:pt x="240423" y="122288"/>
                  </a:lnTo>
                  <a:close/>
                </a:path>
                <a:path w="413384" h="300989">
                  <a:moveTo>
                    <a:pt x="274929" y="76136"/>
                  </a:moveTo>
                  <a:lnTo>
                    <a:pt x="274523" y="74282"/>
                  </a:lnTo>
                  <a:lnTo>
                    <a:pt x="272376" y="70891"/>
                  </a:lnTo>
                  <a:lnTo>
                    <a:pt x="270878" y="69735"/>
                  </a:lnTo>
                  <a:lnTo>
                    <a:pt x="267055" y="68503"/>
                  </a:lnTo>
                  <a:lnTo>
                    <a:pt x="265163" y="68567"/>
                  </a:lnTo>
                  <a:lnTo>
                    <a:pt x="261442" y="70078"/>
                  </a:lnTo>
                  <a:lnTo>
                    <a:pt x="260032" y="71348"/>
                  </a:lnTo>
                  <a:lnTo>
                    <a:pt x="259092" y="73113"/>
                  </a:lnTo>
                  <a:lnTo>
                    <a:pt x="255155" y="78193"/>
                  </a:lnTo>
                  <a:lnTo>
                    <a:pt x="234200" y="106273"/>
                  </a:lnTo>
                  <a:lnTo>
                    <a:pt x="247421" y="116293"/>
                  </a:lnTo>
                  <a:lnTo>
                    <a:pt x="257441" y="103466"/>
                  </a:lnTo>
                  <a:lnTo>
                    <a:pt x="258343" y="103974"/>
                  </a:lnTo>
                  <a:lnTo>
                    <a:pt x="258343" y="300913"/>
                  </a:lnTo>
                  <a:lnTo>
                    <a:pt x="274662" y="300761"/>
                  </a:lnTo>
                  <a:lnTo>
                    <a:pt x="274662" y="78130"/>
                  </a:lnTo>
                  <a:lnTo>
                    <a:pt x="274929" y="76136"/>
                  </a:lnTo>
                  <a:close/>
                </a:path>
                <a:path w="413384" h="300989">
                  <a:moveTo>
                    <a:pt x="326656" y="163868"/>
                  </a:moveTo>
                  <a:lnTo>
                    <a:pt x="310172" y="163868"/>
                  </a:lnTo>
                  <a:lnTo>
                    <a:pt x="310172" y="300913"/>
                  </a:lnTo>
                  <a:lnTo>
                    <a:pt x="326656" y="300913"/>
                  </a:lnTo>
                  <a:lnTo>
                    <a:pt x="326656" y="163868"/>
                  </a:lnTo>
                  <a:close/>
                </a:path>
                <a:path w="413384" h="300989">
                  <a:moveTo>
                    <a:pt x="413004" y="55333"/>
                  </a:moveTo>
                  <a:lnTo>
                    <a:pt x="412661" y="54546"/>
                  </a:lnTo>
                  <a:lnTo>
                    <a:pt x="412203" y="52882"/>
                  </a:lnTo>
                  <a:lnTo>
                    <a:pt x="411226" y="45567"/>
                  </a:lnTo>
                  <a:lnTo>
                    <a:pt x="408990" y="38658"/>
                  </a:lnTo>
                  <a:lnTo>
                    <a:pt x="380149" y="6502"/>
                  </a:lnTo>
                  <a:lnTo>
                    <a:pt x="359181" y="0"/>
                  </a:lnTo>
                  <a:lnTo>
                    <a:pt x="289750" y="0"/>
                  </a:lnTo>
                  <a:lnTo>
                    <a:pt x="252501" y="15773"/>
                  </a:lnTo>
                  <a:lnTo>
                    <a:pt x="228244" y="46697"/>
                  </a:lnTo>
                  <a:lnTo>
                    <a:pt x="217563" y="63055"/>
                  </a:lnTo>
                  <a:lnTo>
                    <a:pt x="217563" y="63957"/>
                  </a:lnTo>
                  <a:lnTo>
                    <a:pt x="230543" y="72872"/>
                  </a:lnTo>
                  <a:lnTo>
                    <a:pt x="232791" y="69913"/>
                  </a:lnTo>
                  <a:lnTo>
                    <a:pt x="243890" y="52743"/>
                  </a:lnTo>
                  <a:lnTo>
                    <a:pt x="252196" y="40932"/>
                  </a:lnTo>
                  <a:lnTo>
                    <a:pt x="283908" y="17551"/>
                  </a:lnTo>
                  <a:lnTo>
                    <a:pt x="292442" y="16713"/>
                  </a:lnTo>
                  <a:lnTo>
                    <a:pt x="354761" y="16738"/>
                  </a:lnTo>
                  <a:lnTo>
                    <a:pt x="388962" y="36791"/>
                  </a:lnTo>
                  <a:lnTo>
                    <a:pt x="395935" y="56451"/>
                  </a:lnTo>
                  <a:lnTo>
                    <a:pt x="395579" y="78066"/>
                  </a:lnTo>
                  <a:lnTo>
                    <a:pt x="395478" y="94348"/>
                  </a:lnTo>
                  <a:lnTo>
                    <a:pt x="395579" y="110617"/>
                  </a:lnTo>
                  <a:lnTo>
                    <a:pt x="395871" y="126860"/>
                  </a:lnTo>
                  <a:lnTo>
                    <a:pt x="395605" y="133197"/>
                  </a:lnTo>
                  <a:lnTo>
                    <a:pt x="369735" y="154952"/>
                  </a:lnTo>
                  <a:lnTo>
                    <a:pt x="369430" y="153111"/>
                  </a:lnTo>
                  <a:lnTo>
                    <a:pt x="369430" y="71107"/>
                  </a:lnTo>
                  <a:lnTo>
                    <a:pt x="368528" y="69062"/>
                  </a:lnTo>
                  <a:lnTo>
                    <a:pt x="352945" y="69062"/>
                  </a:lnTo>
                  <a:lnTo>
                    <a:pt x="352945" y="300913"/>
                  </a:lnTo>
                  <a:lnTo>
                    <a:pt x="369633" y="300863"/>
                  </a:lnTo>
                  <a:lnTo>
                    <a:pt x="369633" y="171742"/>
                  </a:lnTo>
                  <a:lnTo>
                    <a:pt x="376301" y="170929"/>
                  </a:lnTo>
                  <a:lnTo>
                    <a:pt x="409994" y="142303"/>
                  </a:lnTo>
                  <a:lnTo>
                    <a:pt x="412432" y="133019"/>
                  </a:lnTo>
                  <a:lnTo>
                    <a:pt x="413004" y="131914"/>
                  </a:lnTo>
                  <a:lnTo>
                    <a:pt x="413004" y="55333"/>
                  </a:lnTo>
                  <a:close/>
                </a:path>
              </a:pathLst>
            </a:custGeom>
            <a:solidFill>
              <a:srgbClr val="F72E40"/>
            </a:solidFill>
          </p:spPr>
          <p:txBody>
            <a:bodyPr wrap="square" lIns="0" tIns="0" rIns="0" bIns="0" rtlCol="0"/>
            <a:lstStyle/>
            <a:p>
              <a:endParaRPr sz="2118"/>
            </a:p>
          </p:txBody>
        </p:sp>
        <p:pic>
          <p:nvPicPr>
            <p:cNvPr id="28" name="object 28"/>
            <p:cNvPicPr/>
            <p:nvPr/>
          </p:nvPicPr>
          <p:blipFill>
            <a:blip r:embed="rId17" cstate="print"/>
            <a:stretch>
              <a:fillRect/>
            </a:stretch>
          </p:blipFill>
          <p:spPr>
            <a:xfrm>
              <a:off x="1183379" y="3152909"/>
              <a:ext cx="86716" cy="102227"/>
            </a:xfrm>
            <a:prstGeom prst="rect">
              <a:avLst/>
            </a:prstGeom>
          </p:spPr>
        </p:pic>
        <p:pic>
          <p:nvPicPr>
            <p:cNvPr id="29" name="object 29"/>
            <p:cNvPicPr/>
            <p:nvPr/>
          </p:nvPicPr>
          <p:blipFill>
            <a:blip r:embed="rId15" cstate="print"/>
            <a:stretch>
              <a:fillRect/>
            </a:stretch>
          </p:blipFill>
          <p:spPr>
            <a:xfrm>
              <a:off x="960462" y="3152003"/>
              <a:ext cx="86029" cy="103032"/>
            </a:xfrm>
            <a:prstGeom prst="rect">
              <a:avLst/>
            </a:prstGeom>
          </p:spPr>
        </p:pic>
        <p:sp>
          <p:nvSpPr>
            <p:cNvPr id="30" name="object 30"/>
            <p:cNvSpPr/>
            <p:nvPr/>
          </p:nvSpPr>
          <p:spPr>
            <a:xfrm>
              <a:off x="1350378" y="3264255"/>
              <a:ext cx="413384" cy="300990"/>
            </a:xfrm>
            <a:custGeom>
              <a:avLst/>
              <a:gdLst/>
              <a:ahLst/>
              <a:cxnLst/>
              <a:rect l="l" t="t" r="r" b="b"/>
              <a:pathLst>
                <a:path w="413385" h="300989">
                  <a:moveTo>
                    <a:pt x="103009" y="163893"/>
                  </a:moveTo>
                  <a:lnTo>
                    <a:pt x="86588" y="163893"/>
                  </a:lnTo>
                  <a:lnTo>
                    <a:pt x="86588" y="300926"/>
                  </a:lnTo>
                  <a:lnTo>
                    <a:pt x="103009" y="300926"/>
                  </a:lnTo>
                  <a:lnTo>
                    <a:pt x="103009" y="163893"/>
                  </a:lnTo>
                  <a:close/>
                </a:path>
                <a:path w="413385" h="300989">
                  <a:moveTo>
                    <a:pt x="240360" y="122212"/>
                  </a:moveTo>
                  <a:lnTo>
                    <a:pt x="239661" y="120053"/>
                  </a:lnTo>
                  <a:lnTo>
                    <a:pt x="237998" y="118211"/>
                  </a:lnTo>
                  <a:lnTo>
                    <a:pt x="212394" y="80022"/>
                  </a:lnTo>
                  <a:lnTo>
                    <a:pt x="186461" y="42125"/>
                  </a:lnTo>
                  <a:lnTo>
                    <a:pt x="155676" y="11023"/>
                  </a:lnTo>
                  <a:lnTo>
                    <a:pt x="116332" y="0"/>
                  </a:lnTo>
                  <a:lnTo>
                    <a:pt x="102463" y="114"/>
                  </a:lnTo>
                  <a:lnTo>
                    <a:pt x="57073" y="12"/>
                  </a:lnTo>
                  <a:lnTo>
                    <a:pt x="53352" y="393"/>
                  </a:lnTo>
                  <a:lnTo>
                    <a:pt x="49669" y="1155"/>
                  </a:lnTo>
                  <a:lnTo>
                    <a:pt x="42595" y="2463"/>
                  </a:lnTo>
                  <a:lnTo>
                    <a:pt x="9131" y="28117"/>
                  </a:lnTo>
                  <a:lnTo>
                    <a:pt x="0" y="54965"/>
                  </a:lnTo>
                  <a:lnTo>
                    <a:pt x="190" y="62166"/>
                  </a:lnTo>
                  <a:lnTo>
                    <a:pt x="330" y="110020"/>
                  </a:lnTo>
                  <a:lnTo>
                    <a:pt x="190" y="125971"/>
                  </a:lnTo>
                  <a:lnTo>
                    <a:pt x="228" y="130708"/>
                  </a:lnTo>
                  <a:lnTo>
                    <a:pt x="977" y="135343"/>
                  </a:lnTo>
                  <a:lnTo>
                    <a:pt x="26466" y="167563"/>
                  </a:lnTo>
                  <a:lnTo>
                    <a:pt x="32219" y="169430"/>
                  </a:lnTo>
                  <a:lnTo>
                    <a:pt x="33223" y="170116"/>
                  </a:lnTo>
                  <a:lnTo>
                    <a:pt x="34709" y="172275"/>
                  </a:lnTo>
                  <a:lnTo>
                    <a:pt x="34988" y="173456"/>
                  </a:lnTo>
                  <a:lnTo>
                    <a:pt x="34798" y="174752"/>
                  </a:lnTo>
                  <a:lnTo>
                    <a:pt x="34798" y="300824"/>
                  </a:lnTo>
                  <a:lnTo>
                    <a:pt x="50977" y="300824"/>
                  </a:lnTo>
                  <a:lnTo>
                    <a:pt x="50977" y="74485"/>
                  </a:lnTo>
                  <a:lnTo>
                    <a:pt x="51155" y="73367"/>
                  </a:lnTo>
                  <a:lnTo>
                    <a:pt x="51155" y="72250"/>
                  </a:lnTo>
                  <a:lnTo>
                    <a:pt x="50977" y="71120"/>
                  </a:lnTo>
                  <a:lnTo>
                    <a:pt x="50723" y="70269"/>
                  </a:lnTo>
                  <a:lnTo>
                    <a:pt x="49771" y="69075"/>
                  </a:lnTo>
                  <a:lnTo>
                    <a:pt x="34442" y="69075"/>
                  </a:lnTo>
                  <a:lnTo>
                    <a:pt x="34442" y="152120"/>
                  </a:lnTo>
                  <a:lnTo>
                    <a:pt x="29527" y="150342"/>
                  </a:lnTo>
                  <a:lnTo>
                    <a:pt x="25488" y="147370"/>
                  </a:lnTo>
                  <a:lnTo>
                    <a:pt x="19138" y="139065"/>
                  </a:lnTo>
                  <a:lnTo>
                    <a:pt x="17335" y="134391"/>
                  </a:lnTo>
                  <a:lnTo>
                    <a:pt x="16916" y="129171"/>
                  </a:lnTo>
                  <a:lnTo>
                    <a:pt x="16916" y="55321"/>
                  </a:lnTo>
                  <a:lnTo>
                    <a:pt x="40843" y="21005"/>
                  </a:lnTo>
                  <a:lnTo>
                    <a:pt x="55499" y="16662"/>
                  </a:lnTo>
                  <a:lnTo>
                    <a:pt x="123710" y="16700"/>
                  </a:lnTo>
                  <a:lnTo>
                    <a:pt x="163474" y="39878"/>
                  </a:lnTo>
                  <a:lnTo>
                    <a:pt x="191033" y="77698"/>
                  </a:lnTo>
                  <a:lnTo>
                    <a:pt x="219925" y="120904"/>
                  </a:lnTo>
                  <a:lnTo>
                    <a:pt x="220078" y="122072"/>
                  </a:lnTo>
                  <a:lnTo>
                    <a:pt x="219671" y="123317"/>
                  </a:lnTo>
                  <a:lnTo>
                    <a:pt x="182422" y="112077"/>
                  </a:lnTo>
                  <a:lnTo>
                    <a:pt x="170103" y="99060"/>
                  </a:lnTo>
                  <a:lnTo>
                    <a:pt x="145288" y="73126"/>
                  </a:lnTo>
                  <a:lnTo>
                    <a:pt x="143548" y="71158"/>
                  </a:lnTo>
                  <a:lnTo>
                    <a:pt x="141414" y="69799"/>
                  </a:lnTo>
                  <a:lnTo>
                    <a:pt x="138874" y="69075"/>
                  </a:lnTo>
                  <a:lnTo>
                    <a:pt x="133172" y="68021"/>
                  </a:lnTo>
                  <a:lnTo>
                    <a:pt x="129311" y="72224"/>
                  </a:lnTo>
                  <a:lnTo>
                    <a:pt x="129311" y="300926"/>
                  </a:lnTo>
                  <a:lnTo>
                    <a:pt x="146685" y="300774"/>
                  </a:lnTo>
                  <a:lnTo>
                    <a:pt x="146342" y="299669"/>
                  </a:lnTo>
                  <a:lnTo>
                    <a:pt x="146342" y="99275"/>
                  </a:lnTo>
                  <a:lnTo>
                    <a:pt x="147447" y="98780"/>
                  </a:lnTo>
                  <a:lnTo>
                    <a:pt x="148221" y="99898"/>
                  </a:lnTo>
                  <a:lnTo>
                    <a:pt x="149948" y="102031"/>
                  </a:lnTo>
                  <a:lnTo>
                    <a:pt x="158165" y="110832"/>
                  </a:lnTo>
                  <a:lnTo>
                    <a:pt x="183007" y="137096"/>
                  </a:lnTo>
                  <a:lnTo>
                    <a:pt x="185851" y="140474"/>
                  </a:lnTo>
                  <a:lnTo>
                    <a:pt x="189268" y="143116"/>
                  </a:lnTo>
                  <a:lnTo>
                    <a:pt x="197256" y="146913"/>
                  </a:lnTo>
                  <a:lnTo>
                    <a:pt x="201460" y="147904"/>
                  </a:lnTo>
                  <a:lnTo>
                    <a:pt x="210312" y="148056"/>
                  </a:lnTo>
                  <a:lnTo>
                    <a:pt x="214541" y="147218"/>
                  </a:lnTo>
                  <a:lnTo>
                    <a:pt x="222656" y="143700"/>
                  </a:lnTo>
                  <a:lnTo>
                    <a:pt x="226174" y="141173"/>
                  </a:lnTo>
                  <a:lnTo>
                    <a:pt x="229133" y="137896"/>
                  </a:lnTo>
                  <a:lnTo>
                    <a:pt x="236601" y="130530"/>
                  </a:lnTo>
                  <a:lnTo>
                    <a:pt x="238633" y="129108"/>
                  </a:lnTo>
                  <a:lnTo>
                    <a:pt x="239801" y="127152"/>
                  </a:lnTo>
                  <a:lnTo>
                    <a:pt x="240360" y="122212"/>
                  </a:lnTo>
                  <a:close/>
                </a:path>
                <a:path w="413385" h="300989">
                  <a:moveTo>
                    <a:pt x="275031" y="76149"/>
                  </a:moveTo>
                  <a:lnTo>
                    <a:pt x="274624" y="74295"/>
                  </a:lnTo>
                  <a:lnTo>
                    <a:pt x="272478" y="70904"/>
                  </a:lnTo>
                  <a:lnTo>
                    <a:pt x="270979" y="69748"/>
                  </a:lnTo>
                  <a:lnTo>
                    <a:pt x="267157" y="68516"/>
                  </a:lnTo>
                  <a:lnTo>
                    <a:pt x="265264" y="68580"/>
                  </a:lnTo>
                  <a:lnTo>
                    <a:pt x="261531" y="70091"/>
                  </a:lnTo>
                  <a:lnTo>
                    <a:pt x="260134" y="71361"/>
                  </a:lnTo>
                  <a:lnTo>
                    <a:pt x="259181" y="73126"/>
                  </a:lnTo>
                  <a:lnTo>
                    <a:pt x="255257" y="78206"/>
                  </a:lnTo>
                  <a:lnTo>
                    <a:pt x="234289" y="106286"/>
                  </a:lnTo>
                  <a:lnTo>
                    <a:pt x="247561" y="116306"/>
                  </a:lnTo>
                  <a:lnTo>
                    <a:pt x="257581" y="103479"/>
                  </a:lnTo>
                  <a:lnTo>
                    <a:pt x="258533" y="103987"/>
                  </a:lnTo>
                  <a:lnTo>
                    <a:pt x="258533" y="300926"/>
                  </a:lnTo>
                  <a:lnTo>
                    <a:pt x="274764" y="300977"/>
                  </a:lnTo>
                  <a:lnTo>
                    <a:pt x="274764" y="78143"/>
                  </a:lnTo>
                  <a:lnTo>
                    <a:pt x="275031" y="76149"/>
                  </a:lnTo>
                  <a:close/>
                </a:path>
                <a:path w="413385" h="300989">
                  <a:moveTo>
                    <a:pt x="326847" y="163880"/>
                  </a:moveTo>
                  <a:lnTo>
                    <a:pt x="310324" y="163880"/>
                  </a:lnTo>
                  <a:lnTo>
                    <a:pt x="310324" y="300926"/>
                  </a:lnTo>
                  <a:lnTo>
                    <a:pt x="326847" y="300926"/>
                  </a:lnTo>
                  <a:lnTo>
                    <a:pt x="326847" y="163880"/>
                  </a:lnTo>
                  <a:close/>
                </a:path>
                <a:path w="413385" h="300989">
                  <a:moveTo>
                    <a:pt x="413207" y="55346"/>
                  </a:moveTo>
                  <a:lnTo>
                    <a:pt x="412838" y="54559"/>
                  </a:lnTo>
                  <a:lnTo>
                    <a:pt x="412356" y="52895"/>
                  </a:lnTo>
                  <a:lnTo>
                    <a:pt x="411378" y="45580"/>
                  </a:lnTo>
                  <a:lnTo>
                    <a:pt x="409143" y="38658"/>
                  </a:lnTo>
                  <a:lnTo>
                    <a:pt x="380301" y="6502"/>
                  </a:lnTo>
                  <a:lnTo>
                    <a:pt x="359333" y="0"/>
                  </a:lnTo>
                  <a:lnTo>
                    <a:pt x="289915" y="12"/>
                  </a:lnTo>
                  <a:lnTo>
                    <a:pt x="252666" y="15786"/>
                  </a:lnTo>
                  <a:lnTo>
                    <a:pt x="228422" y="46710"/>
                  </a:lnTo>
                  <a:lnTo>
                    <a:pt x="217766" y="63068"/>
                  </a:lnTo>
                  <a:lnTo>
                    <a:pt x="217766" y="63969"/>
                  </a:lnTo>
                  <a:lnTo>
                    <a:pt x="230784" y="72885"/>
                  </a:lnTo>
                  <a:lnTo>
                    <a:pt x="232384" y="70827"/>
                  </a:lnTo>
                  <a:lnTo>
                    <a:pt x="244106" y="52755"/>
                  </a:lnTo>
                  <a:lnTo>
                    <a:pt x="252399" y="40944"/>
                  </a:lnTo>
                  <a:lnTo>
                    <a:pt x="284099" y="17576"/>
                  </a:lnTo>
                  <a:lnTo>
                    <a:pt x="292646" y="16725"/>
                  </a:lnTo>
                  <a:lnTo>
                    <a:pt x="355028" y="16751"/>
                  </a:lnTo>
                  <a:lnTo>
                    <a:pt x="389229" y="36817"/>
                  </a:lnTo>
                  <a:lnTo>
                    <a:pt x="396176" y="56464"/>
                  </a:lnTo>
                  <a:lnTo>
                    <a:pt x="395808" y="78079"/>
                  </a:lnTo>
                  <a:lnTo>
                    <a:pt x="395693" y="94361"/>
                  </a:lnTo>
                  <a:lnTo>
                    <a:pt x="395808" y="110629"/>
                  </a:lnTo>
                  <a:lnTo>
                    <a:pt x="396125" y="126873"/>
                  </a:lnTo>
                  <a:lnTo>
                    <a:pt x="395846" y="133210"/>
                  </a:lnTo>
                  <a:lnTo>
                    <a:pt x="369976" y="154965"/>
                  </a:lnTo>
                  <a:lnTo>
                    <a:pt x="369620" y="153123"/>
                  </a:lnTo>
                  <a:lnTo>
                    <a:pt x="369570" y="71120"/>
                  </a:lnTo>
                  <a:lnTo>
                    <a:pt x="368719" y="69075"/>
                  </a:lnTo>
                  <a:lnTo>
                    <a:pt x="353098" y="69075"/>
                  </a:lnTo>
                  <a:lnTo>
                    <a:pt x="353098" y="300926"/>
                  </a:lnTo>
                  <a:lnTo>
                    <a:pt x="369773" y="300875"/>
                  </a:lnTo>
                  <a:lnTo>
                    <a:pt x="369773" y="171754"/>
                  </a:lnTo>
                  <a:lnTo>
                    <a:pt x="376440" y="170942"/>
                  </a:lnTo>
                  <a:lnTo>
                    <a:pt x="410159" y="142303"/>
                  </a:lnTo>
                  <a:lnTo>
                    <a:pt x="412610" y="133019"/>
                  </a:lnTo>
                  <a:lnTo>
                    <a:pt x="412851" y="132461"/>
                  </a:lnTo>
                  <a:lnTo>
                    <a:pt x="413207" y="131927"/>
                  </a:lnTo>
                  <a:lnTo>
                    <a:pt x="413207" y="55346"/>
                  </a:lnTo>
                  <a:close/>
                </a:path>
              </a:pathLst>
            </a:custGeom>
            <a:solidFill>
              <a:srgbClr val="F72E40"/>
            </a:solidFill>
          </p:spPr>
          <p:txBody>
            <a:bodyPr wrap="square" lIns="0" tIns="0" rIns="0" bIns="0" rtlCol="0"/>
            <a:lstStyle/>
            <a:p>
              <a:endParaRPr sz="2118"/>
            </a:p>
          </p:txBody>
        </p:sp>
        <p:pic>
          <p:nvPicPr>
            <p:cNvPr id="31" name="object 31"/>
            <p:cNvPicPr/>
            <p:nvPr/>
          </p:nvPicPr>
          <p:blipFill>
            <a:blip r:embed="rId18" cstate="print"/>
            <a:stretch>
              <a:fillRect/>
            </a:stretch>
          </p:blipFill>
          <p:spPr>
            <a:xfrm>
              <a:off x="1402615" y="3152004"/>
              <a:ext cx="85894" cy="103031"/>
            </a:xfrm>
            <a:prstGeom prst="rect">
              <a:avLst/>
            </a:prstGeom>
          </p:spPr>
        </p:pic>
        <p:pic>
          <p:nvPicPr>
            <p:cNvPr id="32" name="object 32"/>
            <p:cNvPicPr/>
            <p:nvPr/>
          </p:nvPicPr>
          <p:blipFill>
            <a:blip r:embed="rId19" cstate="print"/>
            <a:stretch>
              <a:fillRect/>
            </a:stretch>
          </p:blipFill>
          <p:spPr>
            <a:xfrm>
              <a:off x="1625446" y="3152909"/>
              <a:ext cx="86796" cy="102227"/>
            </a:xfrm>
            <a:prstGeom prst="rect">
              <a:avLst/>
            </a:prstGeom>
          </p:spPr>
        </p:pic>
        <p:sp>
          <p:nvSpPr>
            <p:cNvPr id="33" name="object 33"/>
            <p:cNvSpPr/>
            <p:nvPr/>
          </p:nvSpPr>
          <p:spPr>
            <a:xfrm>
              <a:off x="1792160" y="3263861"/>
              <a:ext cx="413384" cy="301625"/>
            </a:xfrm>
            <a:custGeom>
              <a:avLst/>
              <a:gdLst/>
              <a:ahLst/>
              <a:cxnLst/>
              <a:rect l="l" t="t" r="r" b="b"/>
              <a:pathLst>
                <a:path w="413385" h="301625">
                  <a:moveTo>
                    <a:pt x="103251" y="164287"/>
                  </a:moveTo>
                  <a:lnTo>
                    <a:pt x="86817" y="164287"/>
                  </a:lnTo>
                  <a:lnTo>
                    <a:pt x="86817" y="301320"/>
                  </a:lnTo>
                  <a:lnTo>
                    <a:pt x="103251" y="301320"/>
                  </a:lnTo>
                  <a:lnTo>
                    <a:pt x="103251" y="164287"/>
                  </a:lnTo>
                  <a:close/>
                </a:path>
                <a:path w="413385" h="301625">
                  <a:moveTo>
                    <a:pt x="240360" y="122593"/>
                  </a:moveTo>
                  <a:lnTo>
                    <a:pt x="239661" y="120434"/>
                  </a:lnTo>
                  <a:lnTo>
                    <a:pt x="237985" y="118605"/>
                  </a:lnTo>
                  <a:lnTo>
                    <a:pt x="212407" y="80416"/>
                  </a:lnTo>
                  <a:lnTo>
                    <a:pt x="186486" y="42519"/>
                  </a:lnTo>
                  <a:lnTo>
                    <a:pt x="155714" y="11417"/>
                  </a:lnTo>
                  <a:lnTo>
                    <a:pt x="116370" y="393"/>
                  </a:lnTo>
                  <a:lnTo>
                    <a:pt x="102476" y="508"/>
                  </a:lnTo>
                  <a:lnTo>
                    <a:pt x="57061" y="406"/>
                  </a:lnTo>
                  <a:lnTo>
                    <a:pt x="53340" y="787"/>
                  </a:lnTo>
                  <a:lnTo>
                    <a:pt x="49657" y="1549"/>
                  </a:lnTo>
                  <a:lnTo>
                    <a:pt x="42557" y="2819"/>
                  </a:lnTo>
                  <a:lnTo>
                    <a:pt x="9055" y="28460"/>
                  </a:lnTo>
                  <a:lnTo>
                    <a:pt x="0" y="55346"/>
                  </a:lnTo>
                  <a:lnTo>
                    <a:pt x="215" y="62560"/>
                  </a:lnTo>
                  <a:lnTo>
                    <a:pt x="393" y="110413"/>
                  </a:lnTo>
                  <a:lnTo>
                    <a:pt x="215" y="126365"/>
                  </a:lnTo>
                  <a:lnTo>
                    <a:pt x="266" y="131114"/>
                  </a:lnTo>
                  <a:lnTo>
                    <a:pt x="1016" y="135737"/>
                  </a:lnTo>
                  <a:lnTo>
                    <a:pt x="26555" y="167957"/>
                  </a:lnTo>
                  <a:lnTo>
                    <a:pt x="32296" y="169824"/>
                  </a:lnTo>
                  <a:lnTo>
                    <a:pt x="33312" y="170510"/>
                  </a:lnTo>
                  <a:lnTo>
                    <a:pt x="34798" y="172669"/>
                  </a:lnTo>
                  <a:lnTo>
                    <a:pt x="35064" y="173850"/>
                  </a:lnTo>
                  <a:lnTo>
                    <a:pt x="34874" y="175145"/>
                  </a:lnTo>
                  <a:lnTo>
                    <a:pt x="34874" y="301218"/>
                  </a:lnTo>
                  <a:lnTo>
                    <a:pt x="51409" y="301218"/>
                  </a:lnTo>
                  <a:lnTo>
                    <a:pt x="51409" y="74879"/>
                  </a:lnTo>
                  <a:lnTo>
                    <a:pt x="51562" y="73761"/>
                  </a:lnTo>
                  <a:lnTo>
                    <a:pt x="51562" y="72644"/>
                  </a:lnTo>
                  <a:lnTo>
                    <a:pt x="51409" y="71513"/>
                  </a:lnTo>
                  <a:lnTo>
                    <a:pt x="51104" y="70662"/>
                  </a:lnTo>
                  <a:lnTo>
                    <a:pt x="50152" y="69469"/>
                  </a:lnTo>
                  <a:lnTo>
                    <a:pt x="34874" y="69469"/>
                  </a:lnTo>
                  <a:lnTo>
                    <a:pt x="34874" y="152755"/>
                  </a:lnTo>
                  <a:lnTo>
                    <a:pt x="29959" y="150990"/>
                  </a:lnTo>
                  <a:lnTo>
                    <a:pt x="25908" y="148018"/>
                  </a:lnTo>
                  <a:lnTo>
                    <a:pt x="19545" y="139712"/>
                  </a:lnTo>
                  <a:lnTo>
                    <a:pt x="17729" y="135039"/>
                  </a:lnTo>
                  <a:lnTo>
                    <a:pt x="17297" y="129819"/>
                  </a:lnTo>
                  <a:lnTo>
                    <a:pt x="17310" y="55968"/>
                  </a:lnTo>
                  <a:lnTo>
                    <a:pt x="41186" y="21653"/>
                  </a:lnTo>
                  <a:lnTo>
                    <a:pt x="55841" y="17310"/>
                  </a:lnTo>
                  <a:lnTo>
                    <a:pt x="124066" y="17348"/>
                  </a:lnTo>
                  <a:lnTo>
                    <a:pt x="163804" y="40513"/>
                  </a:lnTo>
                  <a:lnTo>
                    <a:pt x="191363" y="78346"/>
                  </a:lnTo>
                  <a:lnTo>
                    <a:pt x="220256" y="121551"/>
                  </a:lnTo>
                  <a:lnTo>
                    <a:pt x="220408" y="122720"/>
                  </a:lnTo>
                  <a:lnTo>
                    <a:pt x="220002" y="123964"/>
                  </a:lnTo>
                  <a:lnTo>
                    <a:pt x="182727" y="112712"/>
                  </a:lnTo>
                  <a:lnTo>
                    <a:pt x="170408" y="99695"/>
                  </a:lnTo>
                  <a:lnTo>
                    <a:pt x="145618" y="73774"/>
                  </a:lnTo>
                  <a:lnTo>
                    <a:pt x="143878" y="71805"/>
                  </a:lnTo>
                  <a:lnTo>
                    <a:pt x="141732" y="70459"/>
                  </a:lnTo>
                  <a:lnTo>
                    <a:pt x="139204" y="69723"/>
                  </a:lnTo>
                  <a:lnTo>
                    <a:pt x="133451" y="68668"/>
                  </a:lnTo>
                  <a:lnTo>
                    <a:pt x="129641" y="72872"/>
                  </a:lnTo>
                  <a:lnTo>
                    <a:pt x="129641" y="301320"/>
                  </a:lnTo>
                  <a:lnTo>
                    <a:pt x="146418" y="301167"/>
                  </a:lnTo>
                  <a:lnTo>
                    <a:pt x="146316" y="300062"/>
                  </a:lnTo>
                  <a:lnTo>
                    <a:pt x="146075" y="298970"/>
                  </a:lnTo>
                  <a:lnTo>
                    <a:pt x="146075" y="101917"/>
                  </a:lnTo>
                  <a:lnTo>
                    <a:pt x="146316" y="100825"/>
                  </a:lnTo>
                  <a:lnTo>
                    <a:pt x="146316" y="99669"/>
                  </a:lnTo>
                  <a:lnTo>
                    <a:pt x="147472" y="99174"/>
                  </a:lnTo>
                  <a:lnTo>
                    <a:pt x="149034" y="101396"/>
                  </a:lnTo>
                  <a:lnTo>
                    <a:pt x="158191" y="111252"/>
                  </a:lnTo>
                  <a:lnTo>
                    <a:pt x="182981" y="137490"/>
                  </a:lnTo>
                  <a:lnTo>
                    <a:pt x="185839" y="140868"/>
                  </a:lnTo>
                  <a:lnTo>
                    <a:pt x="189255" y="143510"/>
                  </a:lnTo>
                  <a:lnTo>
                    <a:pt x="197243" y="147307"/>
                  </a:lnTo>
                  <a:lnTo>
                    <a:pt x="201447" y="148297"/>
                  </a:lnTo>
                  <a:lnTo>
                    <a:pt x="210286" y="148450"/>
                  </a:lnTo>
                  <a:lnTo>
                    <a:pt x="214528" y="147612"/>
                  </a:lnTo>
                  <a:lnTo>
                    <a:pt x="222643" y="144094"/>
                  </a:lnTo>
                  <a:lnTo>
                    <a:pt x="226148" y="141566"/>
                  </a:lnTo>
                  <a:lnTo>
                    <a:pt x="229120" y="138290"/>
                  </a:lnTo>
                  <a:lnTo>
                    <a:pt x="236626" y="130924"/>
                  </a:lnTo>
                  <a:lnTo>
                    <a:pt x="238658" y="129489"/>
                  </a:lnTo>
                  <a:lnTo>
                    <a:pt x="239814" y="127533"/>
                  </a:lnTo>
                  <a:lnTo>
                    <a:pt x="240360" y="122593"/>
                  </a:lnTo>
                  <a:close/>
                </a:path>
                <a:path w="413385" h="301625">
                  <a:moveTo>
                    <a:pt x="275234" y="76555"/>
                  </a:moveTo>
                  <a:lnTo>
                    <a:pt x="274802" y="74739"/>
                  </a:lnTo>
                  <a:lnTo>
                    <a:pt x="272669" y="71399"/>
                  </a:lnTo>
                  <a:lnTo>
                    <a:pt x="271183" y="70256"/>
                  </a:lnTo>
                  <a:lnTo>
                    <a:pt x="267398" y="69037"/>
                  </a:lnTo>
                  <a:lnTo>
                    <a:pt x="265531" y="69100"/>
                  </a:lnTo>
                  <a:lnTo>
                    <a:pt x="261835" y="70548"/>
                  </a:lnTo>
                  <a:lnTo>
                    <a:pt x="260438" y="71793"/>
                  </a:lnTo>
                  <a:lnTo>
                    <a:pt x="259473" y="73520"/>
                  </a:lnTo>
                  <a:lnTo>
                    <a:pt x="255536" y="78600"/>
                  </a:lnTo>
                  <a:lnTo>
                    <a:pt x="234581" y="106680"/>
                  </a:lnTo>
                  <a:lnTo>
                    <a:pt x="247802" y="116700"/>
                  </a:lnTo>
                  <a:lnTo>
                    <a:pt x="257822" y="103873"/>
                  </a:lnTo>
                  <a:lnTo>
                    <a:pt x="258762" y="104381"/>
                  </a:lnTo>
                  <a:lnTo>
                    <a:pt x="258762" y="301320"/>
                  </a:lnTo>
                  <a:lnTo>
                    <a:pt x="274993" y="301167"/>
                  </a:lnTo>
                  <a:lnTo>
                    <a:pt x="274993" y="78536"/>
                  </a:lnTo>
                  <a:lnTo>
                    <a:pt x="275234" y="76555"/>
                  </a:lnTo>
                  <a:close/>
                </a:path>
                <a:path w="413385" h="301625">
                  <a:moveTo>
                    <a:pt x="327088" y="164274"/>
                  </a:moveTo>
                  <a:lnTo>
                    <a:pt x="310553" y="164274"/>
                  </a:lnTo>
                  <a:lnTo>
                    <a:pt x="310553" y="301320"/>
                  </a:lnTo>
                  <a:lnTo>
                    <a:pt x="327088" y="301320"/>
                  </a:lnTo>
                  <a:lnTo>
                    <a:pt x="327088" y="164274"/>
                  </a:lnTo>
                  <a:close/>
                </a:path>
                <a:path w="413385" h="301625">
                  <a:moveTo>
                    <a:pt x="413232" y="55346"/>
                  </a:moveTo>
                  <a:lnTo>
                    <a:pt x="412877" y="54559"/>
                  </a:lnTo>
                  <a:lnTo>
                    <a:pt x="412597" y="53733"/>
                  </a:lnTo>
                  <a:lnTo>
                    <a:pt x="411454" y="45567"/>
                  </a:lnTo>
                  <a:lnTo>
                    <a:pt x="409219" y="38658"/>
                  </a:lnTo>
                  <a:lnTo>
                    <a:pt x="380377" y="6515"/>
                  </a:lnTo>
                  <a:lnTo>
                    <a:pt x="359410" y="0"/>
                  </a:lnTo>
                  <a:lnTo>
                    <a:pt x="289953" y="0"/>
                  </a:lnTo>
                  <a:lnTo>
                    <a:pt x="252704" y="15786"/>
                  </a:lnTo>
                  <a:lnTo>
                    <a:pt x="228473" y="46697"/>
                  </a:lnTo>
                  <a:lnTo>
                    <a:pt x="217792" y="63055"/>
                  </a:lnTo>
                  <a:lnTo>
                    <a:pt x="217792" y="63957"/>
                  </a:lnTo>
                  <a:lnTo>
                    <a:pt x="230822" y="72872"/>
                  </a:lnTo>
                  <a:lnTo>
                    <a:pt x="232422" y="70815"/>
                  </a:lnTo>
                  <a:lnTo>
                    <a:pt x="244373" y="52755"/>
                  </a:lnTo>
                  <a:lnTo>
                    <a:pt x="252666" y="40932"/>
                  </a:lnTo>
                  <a:lnTo>
                    <a:pt x="284340" y="17576"/>
                  </a:lnTo>
                  <a:lnTo>
                    <a:pt x="292874" y="16725"/>
                  </a:lnTo>
                  <a:lnTo>
                    <a:pt x="355193" y="16738"/>
                  </a:lnTo>
                  <a:lnTo>
                    <a:pt x="389394" y="36791"/>
                  </a:lnTo>
                  <a:lnTo>
                    <a:pt x="396367" y="56451"/>
                  </a:lnTo>
                  <a:lnTo>
                    <a:pt x="396024" y="78066"/>
                  </a:lnTo>
                  <a:lnTo>
                    <a:pt x="395935" y="94361"/>
                  </a:lnTo>
                  <a:lnTo>
                    <a:pt x="396024" y="110629"/>
                  </a:lnTo>
                  <a:lnTo>
                    <a:pt x="396303" y="126860"/>
                  </a:lnTo>
                  <a:lnTo>
                    <a:pt x="396024" y="133210"/>
                  </a:lnTo>
                  <a:lnTo>
                    <a:pt x="370166" y="154965"/>
                  </a:lnTo>
                  <a:lnTo>
                    <a:pt x="369862" y="153111"/>
                  </a:lnTo>
                  <a:lnTo>
                    <a:pt x="369862" y="71513"/>
                  </a:lnTo>
                  <a:lnTo>
                    <a:pt x="368960" y="69469"/>
                  </a:lnTo>
                  <a:lnTo>
                    <a:pt x="353377" y="69469"/>
                  </a:lnTo>
                  <a:lnTo>
                    <a:pt x="353377" y="301320"/>
                  </a:lnTo>
                  <a:lnTo>
                    <a:pt x="369862" y="301015"/>
                  </a:lnTo>
                  <a:lnTo>
                    <a:pt x="369862" y="171742"/>
                  </a:lnTo>
                  <a:lnTo>
                    <a:pt x="376529" y="170929"/>
                  </a:lnTo>
                  <a:lnTo>
                    <a:pt x="410210" y="142290"/>
                  </a:lnTo>
                  <a:lnTo>
                    <a:pt x="412661" y="133032"/>
                  </a:lnTo>
                  <a:lnTo>
                    <a:pt x="413232" y="131927"/>
                  </a:lnTo>
                  <a:lnTo>
                    <a:pt x="413232" y="55346"/>
                  </a:lnTo>
                  <a:close/>
                </a:path>
              </a:pathLst>
            </a:custGeom>
            <a:solidFill>
              <a:srgbClr val="F72E40"/>
            </a:solidFill>
          </p:spPr>
          <p:txBody>
            <a:bodyPr wrap="square" lIns="0" tIns="0" rIns="0" bIns="0" rtlCol="0"/>
            <a:lstStyle/>
            <a:p>
              <a:endParaRPr sz="2118"/>
            </a:p>
          </p:txBody>
        </p:sp>
        <p:pic>
          <p:nvPicPr>
            <p:cNvPr id="34" name="object 34"/>
            <p:cNvPicPr/>
            <p:nvPr/>
          </p:nvPicPr>
          <p:blipFill>
            <a:blip r:embed="rId20" cstate="print"/>
            <a:stretch>
              <a:fillRect/>
            </a:stretch>
          </p:blipFill>
          <p:spPr>
            <a:xfrm>
              <a:off x="1844496" y="3152004"/>
              <a:ext cx="85979" cy="103031"/>
            </a:xfrm>
            <a:prstGeom prst="rect">
              <a:avLst/>
            </a:prstGeom>
          </p:spPr>
        </p:pic>
        <p:pic>
          <p:nvPicPr>
            <p:cNvPr id="35" name="object 35"/>
            <p:cNvPicPr/>
            <p:nvPr/>
          </p:nvPicPr>
          <p:blipFill>
            <a:blip r:embed="rId21" cstate="print"/>
            <a:stretch>
              <a:fillRect/>
            </a:stretch>
          </p:blipFill>
          <p:spPr>
            <a:xfrm>
              <a:off x="2067463" y="3152909"/>
              <a:ext cx="86646" cy="102227"/>
            </a:xfrm>
            <a:prstGeom prst="rect">
              <a:avLst/>
            </a:prstGeom>
          </p:spPr>
        </p:pic>
        <p:sp>
          <p:nvSpPr>
            <p:cNvPr id="36" name="object 36"/>
            <p:cNvSpPr/>
            <p:nvPr/>
          </p:nvSpPr>
          <p:spPr>
            <a:xfrm>
              <a:off x="2234209" y="3264255"/>
              <a:ext cx="413384" cy="300990"/>
            </a:xfrm>
            <a:custGeom>
              <a:avLst/>
              <a:gdLst/>
              <a:ahLst/>
              <a:cxnLst/>
              <a:rect l="l" t="t" r="r" b="b"/>
              <a:pathLst>
                <a:path w="413385" h="300989">
                  <a:moveTo>
                    <a:pt x="103314" y="163893"/>
                  </a:moveTo>
                  <a:lnTo>
                    <a:pt x="86944" y="163893"/>
                  </a:lnTo>
                  <a:lnTo>
                    <a:pt x="86944" y="300926"/>
                  </a:lnTo>
                  <a:lnTo>
                    <a:pt x="103314" y="300926"/>
                  </a:lnTo>
                  <a:lnTo>
                    <a:pt x="103314" y="163893"/>
                  </a:lnTo>
                  <a:close/>
                </a:path>
                <a:path w="413385" h="300989">
                  <a:moveTo>
                    <a:pt x="240766" y="122262"/>
                  </a:moveTo>
                  <a:lnTo>
                    <a:pt x="240068" y="120103"/>
                  </a:lnTo>
                  <a:lnTo>
                    <a:pt x="238404" y="118262"/>
                  </a:lnTo>
                  <a:lnTo>
                    <a:pt x="212801" y="80060"/>
                  </a:lnTo>
                  <a:lnTo>
                    <a:pt x="186855" y="42176"/>
                  </a:lnTo>
                  <a:lnTo>
                    <a:pt x="156197" y="10972"/>
                  </a:lnTo>
                  <a:lnTo>
                    <a:pt x="116344" y="0"/>
                  </a:lnTo>
                  <a:lnTo>
                    <a:pt x="102463" y="114"/>
                  </a:lnTo>
                  <a:lnTo>
                    <a:pt x="57048" y="12"/>
                  </a:lnTo>
                  <a:lnTo>
                    <a:pt x="53340" y="393"/>
                  </a:lnTo>
                  <a:lnTo>
                    <a:pt x="49669" y="1155"/>
                  </a:lnTo>
                  <a:lnTo>
                    <a:pt x="42595" y="2451"/>
                  </a:lnTo>
                  <a:lnTo>
                    <a:pt x="9118" y="28105"/>
                  </a:lnTo>
                  <a:lnTo>
                    <a:pt x="0" y="54965"/>
                  </a:lnTo>
                  <a:lnTo>
                    <a:pt x="190" y="62166"/>
                  </a:lnTo>
                  <a:lnTo>
                    <a:pt x="355" y="110020"/>
                  </a:lnTo>
                  <a:lnTo>
                    <a:pt x="190" y="125971"/>
                  </a:lnTo>
                  <a:lnTo>
                    <a:pt x="241" y="130708"/>
                  </a:lnTo>
                  <a:lnTo>
                    <a:pt x="1003" y="135331"/>
                  </a:lnTo>
                  <a:lnTo>
                    <a:pt x="26530" y="167551"/>
                  </a:lnTo>
                  <a:lnTo>
                    <a:pt x="32270" y="169430"/>
                  </a:lnTo>
                  <a:lnTo>
                    <a:pt x="33274" y="170116"/>
                  </a:lnTo>
                  <a:lnTo>
                    <a:pt x="34759" y="172275"/>
                  </a:lnTo>
                  <a:lnTo>
                    <a:pt x="35039" y="173456"/>
                  </a:lnTo>
                  <a:lnTo>
                    <a:pt x="34848" y="174752"/>
                  </a:lnTo>
                  <a:lnTo>
                    <a:pt x="34848" y="300824"/>
                  </a:lnTo>
                  <a:lnTo>
                    <a:pt x="51371" y="300824"/>
                  </a:lnTo>
                  <a:lnTo>
                    <a:pt x="51371" y="74485"/>
                  </a:lnTo>
                  <a:lnTo>
                    <a:pt x="51549" y="73367"/>
                  </a:lnTo>
                  <a:lnTo>
                    <a:pt x="51549" y="72250"/>
                  </a:lnTo>
                  <a:lnTo>
                    <a:pt x="51371" y="71120"/>
                  </a:lnTo>
                  <a:lnTo>
                    <a:pt x="51079" y="70269"/>
                  </a:lnTo>
                  <a:lnTo>
                    <a:pt x="50126" y="69075"/>
                  </a:lnTo>
                  <a:lnTo>
                    <a:pt x="34848" y="69075"/>
                  </a:lnTo>
                  <a:lnTo>
                    <a:pt x="34848" y="152120"/>
                  </a:lnTo>
                  <a:lnTo>
                    <a:pt x="29921" y="150342"/>
                  </a:lnTo>
                  <a:lnTo>
                    <a:pt x="25869" y="147383"/>
                  </a:lnTo>
                  <a:lnTo>
                    <a:pt x="19507" y="139077"/>
                  </a:lnTo>
                  <a:lnTo>
                    <a:pt x="17703" y="134391"/>
                  </a:lnTo>
                  <a:lnTo>
                    <a:pt x="17272" y="129171"/>
                  </a:lnTo>
                  <a:lnTo>
                    <a:pt x="17272" y="55321"/>
                  </a:lnTo>
                  <a:lnTo>
                    <a:pt x="41186" y="20993"/>
                  </a:lnTo>
                  <a:lnTo>
                    <a:pt x="55854" y="16662"/>
                  </a:lnTo>
                  <a:lnTo>
                    <a:pt x="124028" y="16700"/>
                  </a:lnTo>
                  <a:lnTo>
                    <a:pt x="163817" y="39878"/>
                  </a:lnTo>
                  <a:lnTo>
                    <a:pt x="191363" y="77698"/>
                  </a:lnTo>
                  <a:lnTo>
                    <a:pt x="219519" y="119811"/>
                  </a:lnTo>
                  <a:lnTo>
                    <a:pt x="220522" y="122669"/>
                  </a:lnTo>
                  <a:lnTo>
                    <a:pt x="219964" y="123317"/>
                  </a:lnTo>
                  <a:lnTo>
                    <a:pt x="182702" y="112077"/>
                  </a:lnTo>
                  <a:lnTo>
                    <a:pt x="170383" y="99060"/>
                  </a:lnTo>
                  <a:lnTo>
                    <a:pt x="145592" y="73126"/>
                  </a:lnTo>
                  <a:lnTo>
                    <a:pt x="143852" y="71158"/>
                  </a:lnTo>
                  <a:lnTo>
                    <a:pt x="141706" y="69799"/>
                  </a:lnTo>
                  <a:lnTo>
                    <a:pt x="139179" y="69075"/>
                  </a:lnTo>
                  <a:lnTo>
                    <a:pt x="133464" y="68021"/>
                  </a:lnTo>
                  <a:lnTo>
                    <a:pt x="129616" y="72224"/>
                  </a:lnTo>
                  <a:lnTo>
                    <a:pt x="129616" y="300926"/>
                  </a:lnTo>
                  <a:lnTo>
                    <a:pt x="146837" y="300824"/>
                  </a:lnTo>
                  <a:lnTo>
                    <a:pt x="146532" y="298627"/>
                  </a:lnTo>
                  <a:lnTo>
                    <a:pt x="146494" y="101574"/>
                  </a:lnTo>
                  <a:lnTo>
                    <a:pt x="146735" y="100482"/>
                  </a:lnTo>
                  <a:lnTo>
                    <a:pt x="146735" y="99326"/>
                  </a:lnTo>
                  <a:lnTo>
                    <a:pt x="147840" y="98818"/>
                  </a:lnTo>
                  <a:lnTo>
                    <a:pt x="148602" y="99949"/>
                  </a:lnTo>
                  <a:lnTo>
                    <a:pt x="150291" y="102082"/>
                  </a:lnTo>
                  <a:lnTo>
                    <a:pt x="183349" y="137134"/>
                  </a:lnTo>
                  <a:lnTo>
                    <a:pt x="186207" y="140512"/>
                  </a:lnTo>
                  <a:lnTo>
                    <a:pt x="189636" y="143154"/>
                  </a:lnTo>
                  <a:lnTo>
                    <a:pt x="197637" y="146951"/>
                  </a:lnTo>
                  <a:lnTo>
                    <a:pt x="201841" y="147929"/>
                  </a:lnTo>
                  <a:lnTo>
                    <a:pt x="210680" y="148082"/>
                  </a:lnTo>
                  <a:lnTo>
                    <a:pt x="214922" y="147243"/>
                  </a:lnTo>
                  <a:lnTo>
                    <a:pt x="223050" y="143738"/>
                  </a:lnTo>
                  <a:lnTo>
                    <a:pt x="226568" y="141224"/>
                  </a:lnTo>
                  <a:lnTo>
                    <a:pt x="229539" y="137947"/>
                  </a:lnTo>
                  <a:lnTo>
                    <a:pt x="236994" y="130581"/>
                  </a:lnTo>
                  <a:lnTo>
                    <a:pt x="239039" y="129159"/>
                  </a:lnTo>
                  <a:lnTo>
                    <a:pt x="240195" y="127203"/>
                  </a:lnTo>
                  <a:lnTo>
                    <a:pt x="240766" y="122262"/>
                  </a:lnTo>
                  <a:close/>
                </a:path>
                <a:path w="413385" h="300989">
                  <a:moveTo>
                    <a:pt x="275323" y="76149"/>
                  </a:moveTo>
                  <a:lnTo>
                    <a:pt x="274929" y="74295"/>
                  </a:lnTo>
                  <a:lnTo>
                    <a:pt x="272770" y="70904"/>
                  </a:lnTo>
                  <a:lnTo>
                    <a:pt x="271284" y="69748"/>
                  </a:lnTo>
                  <a:lnTo>
                    <a:pt x="267449" y="68516"/>
                  </a:lnTo>
                  <a:lnTo>
                    <a:pt x="265569" y="68580"/>
                  </a:lnTo>
                  <a:lnTo>
                    <a:pt x="261835" y="70091"/>
                  </a:lnTo>
                  <a:lnTo>
                    <a:pt x="260438" y="71361"/>
                  </a:lnTo>
                  <a:lnTo>
                    <a:pt x="259486" y="73126"/>
                  </a:lnTo>
                  <a:lnTo>
                    <a:pt x="255562" y="78206"/>
                  </a:lnTo>
                  <a:lnTo>
                    <a:pt x="234594" y="106286"/>
                  </a:lnTo>
                  <a:lnTo>
                    <a:pt x="247815" y="116306"/>
                  </a:lnTo>
                  <a:lnTo>
                    <a:pt x="257835" y="103479"/>
                  </a:lnTo>
                  <a:lnTo>
                    <a:pt x="258737" y="103987"/>
                  </a:lnTo>
                  <a:lnTo>
                    <a:pt x="258737" y="300926"/>
                  </a:lnTo>
                  <a:lnTo>
                    <a:pt x="275069" y="300774"/>
                  </a:lnTo>
                  <a:lnTo>
                    <a:pt x="275069" y="78143"/>
                  </a:lnTo>
                  <a:lnTo>
                    <a:pt x="275323" y="76149"/>
                  </a:lnTo>
                  <a:close/>
                </a:path>
                <a:path w="413385" h="300989">
                  <a:moveTo>
                    <a:pt x="327050" y="163880"/>
                  </a:moveTo>
                  <a:lnTo>
                    <a:pt x="310578" y="163880"/>
                  </a:lnTo>
                  <a:lnTo>
                    <a:pt x="310578" y="300926"/>
                  </a:lnTo>
                  <a:lnTo>
                    <a:pt x="327050" y="300926"/>
                  </a:lnTo>
                  <a:lnTo>
                    <a:pt x="327050" y="163880"/>
                  </a:lnTo>
                  <a:close/>
                </a:path>
                <a:path w="413385" h="300989">
                  <a:moveTo>
                    <a:pt x="413308" y="55397"/>
                  </a:moveTo>
                  <a:lnTo>
                    <a:pt x="412965" y="54610"/>
                  </a:lnTo>
                  <a:lnTo>
                    <a:pt x="412508" y="52946"/>
                  </a:lnTo>
                  <a:lnTo>
                    <a:pt x="411530" y="45631"/>
                  </a:lnTo>
                  <a:lnTo>
                    <a:pt x="409308" y="38735"/>
                  </a:lnTo>
                  <a:lnTo>
                    <a:pt x="380542" y="6578"/>
                  </a:lnTo>
                  <a:lnTo>
                    <a:pt x="290207" y="12"/>
                  </a:lnTo>
                  <a:lnTo>
                    <a:pt x="286346" y="393"/>
                  </a:lnTo>
                  <a:lnTo>
                    <a:pt x="248094" y="20294"/>
                  </a:lnTo>
                  <a:lnTo>
                    <a:pt x="218020" y="63068"/>
                  </a:lnTo>
                  <a:lnTo>
                    <a:pt x="218020" y="63969"/>
                  </a:lnTo>
                  <a:lnTo>
                    <a:pt x="230987" y="72885"/>
                  </a:lnTo>
                  <a:lnTo>
                    <a:pt x="231889" y="71678"/>
                  </a:lnTo>
                  <a:lnTo>
                    <a:pt x="232638" y="70827"/>
                  </a:lnTo>
                  <a:lnTo>
                    <a:pt x="257505" y="35102"/>
                  </a:lnTo>
                  <a:lnTo>
                    <a:pt x="292900" y="16725"/>
                  </a:lnTo>
                  <a:lnTo>
                    <a:pt x="355180" y="16751"/>
                  </a:lnTo>
                  <a:lnTo>
                    <a:pt x="389382" y="36817"/>
                  </a:lnTo>
                  <a:lnTo>
                    <a:pt x="396328" y="56464"/>
                  </a:lnTo>
                  <a:lnTo>
                    <a:pt x="395960" y="78079"/>
                  </a:lnTo>
                  <a:lnTo>
                    <a:pt x="395846" y="94361"/>
                  </a:lnTo>
                  <a:lnTo>
                    <a:pt x="395960" y="110629"/>
                  </a:lnTo>
                  <a:lnTo>
                    <a:pt x="396278" y="126873"/>
                  </a:lnTo>
                  <a:lnTo>
                    <a:pt x="395998" y="133210"/>
                  </a:lnTo>
                  <a:lnTo>
                    <a:pt x="370128" y="154965"/>
                  </a:lnTo>
                  <a:lnTo>
                    <a:pt x="369824" y="153123"/>
                  </a:lnTo>
                  <a:lnTo>
                    <a:pt x="369824" y="71120"/>
                  </a:lnTo>
                  <a:lnTo>
                    <a:pt x="368922" y="69075"/>
                  </a:lnTo>
                  <a:lnTo>
                    <a:pt x="353352" y="69075"/>
                  </a:lnTo>
                  <a:lnTo>
                    <a:pt x="353352" y="300926"/>
                  </a:lnTo>
                  <a:lnTo>
                    <a:pt x="369925" y="300926"/>
                  </a:lnTo>
                  <a:lnTo>
                    <a:pt x="369925" y="171805"/>
                  </a:lnTo>
                  <a:lnTo>
                    <a:pt x="376593" y="170992"/>
                  </a:lnTo>
                  <a:lnTo>
                    <a:pt x="410298" y="142367"/>
                  </a:lnTo>
                  <a:lnTo>
                    <a:pt x="412724" y="133083"/>
                  </a:lnTo>
                  <a:lnTo>
                    <a:pt x="413308" y="131978"/>
                  </a:lnTo>
                  <a:lnTo>
                    <a:pt x="413308" y="55397"/>
                  </a:lnTo>
                  <a:close/>
                </a:path>
              </a:pathLst>
            </a:custGeom>
            <a:solidFill>
              <a:srgbClr val="F72E40"/>
            </a:solidFill>
          </p:spPr>
          <p:txBody>
            <a:bodyPr wrap="square" lIns="0" tIns="0" rIns="0" bIns="0" rtlCol="0"/>
            <a:lstStyle/>
            <a:p>
              <a:endParaRPr sz="2118"/>
            </a:p>
          </p:txBody>
        </p:sp>
        <p:pic>
          <p:nvPicPr>
            <p:cNvPr id="37" name="object 37"/>
            <p:cNvPicPr/>
            <p:nvPr/>
          </p:nvPicPr>
          <p:blipFill>
            <a:blip r:embed="rId22" cstate="print"/>
            <a:stretch>
              <a:fillRect/>
            </a:stretch>
          </p:blipFill>
          <p:spPr>
            <a:xfrm>
              <a:off x="2286692" y="3152003"/>
              <a:ext cx="85900" cy="103032"/>
            </a:xfrm>
            <a:prstGeom prst="rect">
              <a:avLst/>
            </a:prstGeom>
          </p:spPr>
        </p:pic>
        <p:pic>
          <p:nvPicPr>
            <p:cNvPr id="38" name="object 38"/>
            <p:cNvPicPr/>
            <p:nvPr/>
          </p:nvPicPr>
          <p:blipFill>
            <a:blip r:embed="rId23" cstate="print"/>
            <a:stretch>
              <a:fillRect/>
            </a:stretch>
          </p:blipFill>
          <p:spPr>
            <a:xfrm>
              <a:off x="2509530" y="3152909"/>
              <a:ext cx="86671" cy="102227"/>
            </a:xfrm>
            <a:prstGeom prst="rect">
              <a:avLst/>
            </a:prstGeom>
          </p:spPr>
        </p:pic>
        <p:sp>
          <p:nvSpPr>
            <p:cNvPr id="39" name="object 39"/>
            <p:cNvSpPr/>
            <p:nvPr/>
          </p:nvSpPr>
          <p:spPr>
            <a:xfrm>
              <a:off x="2676029" y="3263810"/>
              <a:ext cx="414020" cy="301625"/>
            </a:xfrm>
            <a:custGeom>
              <a:avLst/>
              <a:gdLst/>
              <a:ahLst/>
              <a:cxnLst/>
              <a:rect l="l" t="t" r="r" b="b"/>
              <a:pathLst>
                <a:path w="414019" h="301625">
                  <a:moveTo>
                    <a:pt x="103466" y="164338"/>
                  </a:moveTo>
                  <a:lnTo>
                    <a:pt x="87033" y="164338"/>
                  </a:lnTo>
                  <a:lnTo>
                    <a:pt x="87033" y="301371"/>
                  </a:lnTo>
                  <a:lnTo>
                    <a:pt x="103466" y="301371"/>
                  </a:lnTo>
                  <a:lnTo>
                    <a:pt x="103466" y="164338"/>
                  </a:lnTo>
                  <a:close/>
                </a:path>
                <a:path w="414019" h="301625">
                  <a:moveTo>
                    <a:pt x="240106" y="122656"/>
                  </a:moveTo>
                  <a:lnTo>
                    <a:pt x="239420" y="120497"/>
                  </a:lnTo>
                  <a:lnTo>
                    <a:pt x="237744" y="118656"/>
                  </a:lnTo>
                  <a:lnTo>
                    <a:pt x="212140" y="80467"/>
                  </a:lnTo>
                  <a:lnTo>
                    <a:pt x="186207" y="42570"/>
                  </a:lnTo>
                  <a:lnTo>
                    <a:pt x="155676" y="11468"/>
                  </a:lnTo>
                  <a:lnTo>
                    <a:pt x="116332" y="444"/>
                  </a:lnTo>
                  <a:lnTo>
                    <a:pt x="102463" y="558"/>
                  </a:lnTo>
                  <a:lnTo>
                    <a:pt x="57073" y="457"/>
                  </a:lnTo>
                  <a:lnTo>
                    <a:pt x="53352" y="838"/>
                  </a:lnTo>
                  <a:lnTo>
                    <a:pt x="49669" y="1600"/>
                  </a:lnTo>
                  <a:lnTo>
                    <a:pt x="42583" y="2908"/>
                  </a:lnTo>
                  <a:lnTo>
                    <a:pt x="9131" y="28562"/>
                  </a:lnTo>
                  <a:lnTo>
                    <a:pt x="0" y="55410"/>
                  </a:lnTo>
                  <a:lnTo>
                    <a:pt x="177" y="62611"/>
                  </a:lnTo>
                  <a:lnTo>
                    <a:pt x="330" y="110464"/>
                  </a:lnTo>
                  <a:lnTo>
                    <a:pt x="177" y="126415"/>
                  </a:lnTo>
                  <a:lnTo>
                    <a:pt x="228" y="131165"/>
                  </a:lnTo>
                  <a:lnTo>
                    <a:pt x="977" y="135788"/>
                  </a:lnTo>
                  <a:lnTo>
                    <a:pt x="26517" y="168008"/>
                  </a:lnTo>
                  <a:lnTo>
                    <a:pt x="32258" y="169887"/>
                  </a:lnTo>
                  <a:lnTo>
                    <a:pt x="33248" y="170573"/>
                  </a:lnTo>
                  <a:lnTo>
                    <a:pt x="34709" y="172732"/>
                  </a:lnTo>
                  <a:lnTo>
                    <a:pt x="34988" y="173913"/>
                  </a:lnTo>
                  <a:lnTo>
                    <a:pt x="34798" y="175196"/>
                  </a:lnTo>
                  <a:lnTo>
                    <a:pt x="34798" y="301269"/>
                  </a:lnTo>
                  <a:lnTo>
                    <a:pt x="51269" y="301269"/>
                  </a:lnTo>
                  <a:lnTo>
                    <a:pt x="51523" y="299770"/>
                  </a:lnTo>
                  <a:lnTo>
                    <a:pt x="51523" y="74930"/>
                  </a:lnTo>
                  <a:lnTo>
                    <a:pt x="51701" y="73812"/>
                  </a:lnTo>
                  <a:lnTo>
                    <a:pt x="51701" y="72694"/>
                  </a:lnTo>
                  <a:lnTo>
                    <a:pt x="51523" y="71564"/>
                  </a:lnTo>
                  <a:lnTo>
                    <a:pt x="51269" y="70713"/>
                  </a:lnTo>
                  <a:lnTo>
                    <a:pt x="50317" y="69519"/>
                  </a:lnTo>
                  <a:lnTo>
                    <a:pt x="34988" y="69519"/>
                  </a:lnTo>
                  <a:lnTo>
                    <a:pt x="34988" y="152565"/>
                  </a:lnTo>
                  <a:lnTo>
                    <a:pt x="30086" y="150774"/>
                  </a:lnTo>
                  <a:lnTo>
                    <a:pt x="26035" y="147815"/>
                  </a:lnTo>
                  <a:lnTo>
                    <a:pt x="19697" y="139509"/>
                  </a:lnTo>
                  <a:lnTo>
                    <a:pt x="17894" y="134823"/>
                  </a:lnTo>
                  <a:lnTo>
                    <a:pt x="17462" y="129616"/>
                  </a:lnTo>
                  <a:lnTo>
                    <a:pt x="17487" y="55765"/>
                  </a:lnTo>
                  <a:lnTo>
                    <a:pt x="41389" y="21450"/>
                  </a:lnTo>
                  <a:lnTo>
                    <a:pt x="56045" y="17106"/>
                  </a:lnTo>
                  <a:lnTo>
                    <a:pt x="124269" y="17145"/>
                  </a:lnTo>
                  <a:lnTo>
                    <a:pt x="164020" y="40322"/>
                  </a:lnTo>
                  <a:lnTo>
                    <a:pt x="191579" y="78143"/>
                  </a:lnTo>
                  <a:lnTo>
                    <a:pt x="220472" y="121348"/>
                  </a:lnTo>
                  <a:lnTo>
                    <a:pt x="220624" y="122516"/>
                  </a:lnTo>
                  <a:lnTo>
                    <a:pt x="220218" y="123761"/>
                  </a:lnTo>
                  <a:lnTo>
                    <a:pt x="182943" y="112522"/>
                  </a:lnTo>
                  <a:lnTo>
                    <a:pt x="170611" y="99504"/>
                  </a:lnTo>
                  <a:lnTo>
                    <a:pt x="145834" y="73571"/>
                  </a:lnTo>
                  <a:lnTo>
                    <a:pt x="144081" y="71615"/>
                  </a:lnTo>
                  <a:lnTo>
                    <a:pt x="141947" y="70269"/>
                  </a:lnTo>
                  <a:lnTo>
                    <a:pt x="139420" y="69519"/>
                  </a:lnTo>
                  <a:lnTo>
                    <a:pt x="133667" y="68465"/>
                  </a:lnTo>
                  <a:lnTo>
                    <a:pt x="129806" y="72669"/>
                  </a:lnTo>
                  <a:lnTo>
                    <a:pt x="129806" y="301371"/>
                  </a:lnTo>
                  <a:lnTo>
                    <a:pt x="146189" y="301218"/>
                  </a:lnTo>
                  <a:lnTo>
                    <a:pt x="146088" y="300113"/>
                  </a:lnTo>
                  <a:lnTo>
                    <a:pt x="145834" y="299021"/>
                  </a:lnTo>
                  <a:lnTo>
                    <a:pt x="145834" y="101968"/>
                  </a:lnTo>
                  <a:lnTo>
                    <a:pt x="146088" y="100876"/>
                  </a:lnTo>
                  <a:lnTo>
                    <a:pt x="146088" y="99720"/>
                  </a:lnTo>
                  <a:lnTo>
                    <a:pt x="147193" y="99225"/>
                  </a:lnTo>
                  <a:lnTo>
                    <a:pt x="147967" y="100342"/>
                  </a:lnTo>
                  <a:lnTo>
                    <a:pt x="149694" y="102476"/>
                  </a:lnTo>
                  <a:lnTo>
                    <a:pt x="182753" y="137541"/>
                  </a:lnTo>
                  <a:lnTo>
                    <a:pt x="185597" y="140919"/>
                  </a:lnTo>
                  <a:lnTo>
                    <a:pt x="189014" y="143560"/>
                  </a:lnTo>
                  <a:lnTo>
                    <a:pt x="197002" y="147358"/>
                  </a:lnTo>
                  <a:lnTo>
                    <a:pt x="201206" y="148348"/>
                  </a:lnTo>
                  <a:lnTo>
                    <a:pt x="210058" y="148501"/>
                  </a:lnTo>
                  <a:lnTo>
                    <a:pt x="214299" y="147662"/>
                  </a:lnTo>
                  <a:lnTo>
                    <a:pt x="222402" y="144145"/>
                  </a:lnTo>
                  <a:lnTo>
                    <a:pt x="225920" y="141617"/>
                  </a:lnTo>
                  <a:lnTo>
                    <a:pt x="228879" y="138341"/>
                  </a:lnTo>
                  <a:lnTo>
                    <a:pt x="236347" y="130975"/>
                  </a:lnTo>
                  <a:lnTo>
                    <a:pt x="238379" y="129552"/>
                  </a:lnTo>
                  <a:lnTo>
                    <a:pt x="239547" y="127596"/>
                  </a:lnTo>
                  <a:lnTo>
                    <a:pt x="240106" y="122656"/>
                  </a:lnTo>
                  <a:close/>
                </a:path>
                <a:path w="414019" h="301625">
                  <a:moveTo>
                    <a:pt x="275437" y="76606"/>
                  </a:moveTo>
                  <a:lnTo>
                    <a:pt x="275018" y="74790"/>
                  </a:lnTo>
                  <a:lnTo>
                    <a:pt x="272872" y="71450"/>
                  </a:lnTo>
                  <a:lnTo>
                    <a:pt x="271399" y="70307"/>
                  </a:lnTo>
                  <a:lnTo>
                    <a:pt x="267614" y="69088"/>
                  </a:lnTo>
                  <a:lnTo>
                    <a:pt x="265747" y="69151"/>
                  </a:lnTo>
                  <a:lnTo>
                    <a:pt x="262051" y="70599"/>
                  </a:lnTo>
                  <a:lnTo>
                    <a:pt x="260642" y="71843"/>
                  </a:lnTo>
                  <a:lnTo>
                    <a:pt x="259689" y="73571"/>
                  </a:lnTo>
                  <a:lnTo>
                    <a:pt x="255752" y="78651"/>
                  </a:lnTo>
                  <a:lnTo>
                    <a:pt x="234784" y="106730"/>
                  </a:lnTo>
                  <a:lnTo>
                    <a:pt x="248018" y="116751"/>
                  </a:lnTo>
                  <a:lnTo>
                    <a:pt x="258025" y="103924"/>
                  </a:lnTo>
                  <a:lnTo>
                    <a:pt x="258978" y="104432"/>
                  </a:lnTo>
                  <a:lnTo>
                    <a:pt x="258978" y="301371"/>
                  </a:lnTo>
                  <a:lnTo>
                    <a:pt x="275209" y="301421"/>
                  </a:lnTo>
                  <a:lnTo>
                    <a:pt x="275209" y="78587"/>
                  </a:lnTo>
                  <a:lnTo>
                    <a:pt x="275437" y="76606"/>
                  </a:lnTo>
                  <a:close/>
                </a:path>
                <a:path w="414019" h="301625">
                  <a:moveTo>
                    <a:pt x="327304" y="164325"/>
                  </a:moveTo>
                  <a:lnTo>
                    <a:pt x="310769" y="164325"/>
                  </a:lnTo>
                  <a:lnTo>
                    <a:pt x="310769" y="301371"/>
                  </a:lnTo>
                  <a:lnTo>
                    <a:pt x="327304" y="301371"/>
                  </a:lnTo>
                  <a:lnTo>
                    <a:pt x="327304" y="164325"/>
                  </a:lnTo>
                  <a:close/>
                </a:path>
                <a:path w="414019" h="301625">
                  <a:moveTo>
                    <a:pt x="413397" y="55346"/>
                  </a:moveTo>
                  <a:lnTo>
                    <a:pt x="413042" y="54546"/>
                  </a:lnTo>
                  <a:lnTo>
                    <a:pt x="412546" y="52882"/>
                  </a:lnTo>
                  <a:lnTo>
                    <a:pt x="411568" y="45593"/>
                  </a:lnTo>
                  <a:lnTo>
                    <a:pt x="409359" y="38709"/>
                  </a:lnTo>
                  <a:lnTo>
                    <a:pt x="380669" y="6591"/>
                  </a:lnTo>
                  <a:lnTo>
                    <a:pt x="290360" y="0"/>
                  </a:lnTo>
                  <a:lnTo>
                    <a:pt x="286524" y="381"/>
                  </a:lnTo>
                  <a:lnTo>
                    <a:pt x="248246" y="20281"/>
                  </a:lnTo>
                  <a:lnTo>
                    <a:pt x="218211" y="63055"/>
                  </a:lnTo>
                  <a:lnTo>
                    <a:pt x="218211" y="63957"/>
                  </a:lnTo>
                  <a:lnTo>
                    <a:pt x="231228" y="72872"/>
                  </a:lnTo>
                  <a:lnTo>
                    <a:pt x="232841" y="70815"/>
                  </a:lnTo>
                  <a:lnTo>
                    <a:pt x="244563" y="52755"/>
                  </a:lnTo>
                  <a:lnTo>
                    <a:pt x="252857" y="40944"/>
                  </a:lnTo>
                  <a:lnTo>
                    <a:pt x="284556" y="17564"/>
                  </a:lnTo>
                  <a:lnTo>
                    <a:pt x="293090" y="16725"/>
                  </a:lnTo>
                  <a:lnTo>
                    <a:pt x="359181" y="16751"/>
                  </a:lnTo>
                  <a:lnTo>
                    <a:pt x="391617" y="39230"/>
                  </a:lnTo>
                  <a:lnTo>
                    <a:pt x="396735" y="55918"/>
                  </a:lnTo>
                  <a:lnTo>
                    <a:pt x="396519" y="61798"/>
                  </a:lnTo>
                  <a:lnTo>
                    <a:pt x="396201" y="78117"/>
                  </a:lnTo>
                  <a:lnTo>
                    <a:pt x="396100" y="94411"/>
                  </a:lnTo>
                  <a:lnTo>
                    <a:pt x="396201" y="110680"/>
                  </a:lnTo>
                  <a:lnTo>
                    <a:pt x="396519" y="126911"/>
                  </a:lnTo>
                  <a:lnTo>
                    <a:pt x="396240" y="133261"/>
                  </a:lnTo>
                  <a:lnTo>
                    <a:pt x="370370" y="155016"/>
                  </a:lnTo>
                  <a:lnTo>
                    <a:pt x="370078" y="153162"/>
                  </a:lnTo>
                  <a:lnTo>
                    <a:pt x="370027" y="71564"/>
                  </a:lnTo>
                  <a:lnTo>
                    <a:pt x="369176" y="69519"/>
                  </a:lnTo>
                  <a:lnTo>
                    <a:pt x="353542" y="69519"/>
                  </a:lnTo>
                  <a:lnTo>
                    <a:pt x="353542" y="301371"/>
                  </a:lnTo>
                  <a:lnTo>
                    <a:pt x="369976" y="300863"/>
                  </a:lnTo>
                  <a:lnTo>
                    <a:pt x="369976" y="171742"/>
                  </a:lnTo>
                  <a:lnTo>
                    <a:pt x="376643" y="170942"/>
                  </a:lnTo>
                  <a:lnTo>
                    <a:pt x="410362" y="142303"/>
                  </a:lnTo>
                  <a:lnTo>
                    <a:pt x="412826" y="133032"/>
                  </a:lnTo>
                  <a:lnTo>
                    <a:pt x="413397" y="131927"/>
                  </a:lnTo>
                  <a:lnTo>
                    <a:pt x="413397" y="55346"/>
                  </a:lnTo>
                  <a:close/>
                </a:path>
              </a:pathLst>
            </a:custGeom>
            <a:solidFill>
              <a:srgbClr val="F72E40"/>
            </a:solidFill>
          </p:spPr>
          <p:txBody>
            <a:bodyPr wrap="square" lIns="0" tIns="0" rIns="0" bIns="0" rtlCol="0"/>
            <a:lstStyle/>
            <a:p>
              <a:endParaRPr sz="2118"/>
            </a:p>
          </p:txBody>
        </p:sp>
        <p:pic>
          <p:nvPicPr>
            <p:cNvPr id="40" name="object 40"/>
            <p:cNvPicPr/>
            <p:nvPr/>
          </p:nvPicPr>
          <p:blipFill>
            <a:blip r:embed="rId12" cstate="print"/>
            <a:stretch>
              <a:fillRect/>
            </a:stretch>
          </p:blipFill>
          <p:spPr>
            <a:xfrm>
              <a:off x="2728715" y="3152004"/>
              <a:ext cx="85894" cy="103031"/>
            </a:xfrm>
            <a:prstGeom prst="rect">
              <a:avLst/>
            </a:prstGeom>
          </p:spPr>
        </p:pic>
        <p:pic>
          <p:nvPicPr>
            <p:cNvPr id="41" name="object 41"/>
            <p:cNvPicPr/>
            <p:nvPr/>
          </p:nvPicPr>
          <p:blipFill>
            <a:blip r:embed="rId24" cstate="print"/>
            <a:stretch>
              <a:fillRect/>
            </a:stretch>
          </p:blipFill>
          <p:spPr>
            <a:xfrm>
              <a:off x="2951547" y="3152909"/>
              <a:ext cx="86671" cy="102227"/>
            </a:xfrm>
            <a:prstGeom prst="rect">
              <a:avLst/>
            </a:prstGeom>
          </p:spPr>
        </p:pic>
        <p:pic>
          <p:nvPicPr>
            <p:cNvPr id="42" name="object 42"/>
            <p:cNvPicPr/>
            <p:nvPr/>
          </p:nvPicPr>
          <p:blipFill>
            <a:blip r:embed="rId25" cstate="print"/>
            <a:stretch>
              <a:fillRect/>
            </a:stretch>
          </p:blipFill>
          <p:spPr>
            <a:xfrm>
              <a:off x="924030" y="1181580"/>
              <a:ext cx="339341" cy="140201"/>
            </a:xfrm>
            <a:prstGeom prst="rect">
              <a:avLst/>
            </a:prstGeom>
          </p:spPr>
        </p:pic>
        <p:pic>
          <p:nvPicPr>
            <p:cNvPr id="43" name="object 43"/>
            <p:cNvPicPr/>
            <p:nvPr/>
          </p:nvPicPr>
          <p:blipFill>
            <a:blip r:embed="rId26" cstate="print"/>
            <a:stretch>
              <a:fillRect/>
            </a:stretch>
          </p:blipFill>
          <p:spPr>
            <a:xfrm>
              <a:off x="1302787" y="1208335"/>
              <a:ext cx="116502" cy="112244"/>
            </a:xfrm>
            <a:prstGeom prst="rect">
              <a:avLst/>
            </a:prstGeom>
          </p:spPr>
        </p:pic>
        <p:pic>
          <p:nvPicPr>
            <p:cNvPr id="44" name="object 44"/>
            <p:cNvPicPr/>
            <p:nvPr/>
          </p:nvPicPr>
          <p:blipFill>
            <a:blip r:embed="rId27" cstate="print"/>
            <a:stretch>
              <a:fillRect/>
            </a:stretch>
          </p:blipFill>
          <p:spPr>
            <a:xfrm>
              <a:off x="1468674" y="1208335"/>
              <a:ext cx="116502" cy="112244"/>
            </a:xfrm>
            <a:prstGeom prst="rect">
              <a:avLst/>
            </a:prstGeom>
          </p:spPr>
        </p:pic>
        <p:sp>
          <p:nvSpPr>
            <p:cNvPr id="45" name="object 45"/>
            <p:cNvSpPr/>
            <p:nvPr/>
          </p:nvSpPr>
          <p:spPr>
            <a:xfrm>
              <a:off x="1634553" y="1208252"/>
              <a:ext cx="79375" cy="111760"/>
            </a:xfrm>
            <a:custGeom>
              <a:avLst/>
              <a:gdLst/>
              <a:ahLst/>
              <a:cxnLst/>
              <a:rect l="l" t="t" r="r" b="b"/>
              <a:pathLst>
                <a:path w="79375" h="111759">
                  <a:moveTo>
                    <a:pt x="79336" y="102870"/>
                  </a:moveTo>
                  <a:lnTo>
                    <a:pt x="11874" y="102870"/>
                  </a:lnTo>
                  <a:lnTo>
                    <a:pt x="11874" y="59690"/>
                  </a:lnTo>
                  <a:lnTo>
                    <a:pt x="69824" y="59690"/>
                  </a:lnTo>
                  <a:lnTo>
                    <a:pt x="69824" y="50800"/>
                  </a:lnTo>
                  <a:lnTo>
                    <a:pt x="11823" y="50800"/>
                  </a:lnTo>
                  <a:lnTo>
                    <a:pt x="11823" y="10160"/>
                  </a:lnTo>
                  <a:lnTo>
                    <a:pt x="76936" y="10160"/>
                  </a:lnTo>
                  <a:lnTo>
                    <a:pt x="76936" y="0"/>
                  </a:lnTo>
                  <a:lnTo>
                    <a:pt x="0" y="0"/>
                  </a:lnTo>
                  <a:lnTo>
                    <a:pt x="0" y="10160"/>
                  </a:lnTo>
                  <a:lnTo>
                    <a:pt x="0" y="50800"/>
                  </a:lnTo>
                  <a:lnTo>
                    <a:pt x="0" y="59690"/>
                  </a:lnTo>
                  <a:lnTo>
                    <a:pt x="0" y="102870"/>
                  </a:lnTo>
                  <a:lnTo>
                    <a:pt x="0" y="111760"/>
                  </a:lnTo>
                  <a:lnTo>
                    <a:pt x="79336" y="111760"/>
                  </a:lnTo>
                  <a:lnTo>
                    <a:pt x="79336" y="102870"/>
                  </a:lnTo>
                  <a:close/>
                </a:path>
              </a:pathLst>
            </a:custGeom>
            <a:solidFill>
              <a:srgbClr val="000000"/>
            </a:solidFill>
          </p:spPr>
          <p:txBody>
            <a:bodyPr wrap="square" lIns="0" tIns="0" rIns="0" bIns="0" rtlCol="0"/>
            <a:lstStyle/>
            <a:p>
              <a:endParaRPr sz="2118"/>
            </a:p>
          </p:txBody>
        </p:sp>
        <p:pic>
          <p:nvPicPr>
            <p:cNvPr id="46" name="object 46"/>
            <p:cNvPicPr/>
            <p:nvPr/>
          </p:nvPicPr>
          <p:blipFill>
            <a:blip r:embed="rId28" cstate="print"/>
            <a:stretch>
              <a:fillRect/>
            </a:stretch>
          </p:blipFill>
          <p:spPr>
            <a:xfrm>
              <a:off x="1809466" y="1208335"/>
              <a:ext cx="87810" cy="112244"/>
            </a:xfrm>
            <a:prstGeom prst="rect">
              <a:avLst/>
            </a:prstGeom>
          </p:spPr>
        </p:pic>
        <p:sp>
          <p:nvSpPr>
            <p:cNvPr id="47" name="object 47"/>
            <p:cNvSpPr/>
            <p:nvPr/>
          </p:nvSpPr>
          <p:spPr>
            <a:xfrm>
              <a:off x="1935480" y="1208341"/>
              <a:ext cx="73660" cy="112395"/>
            </a:xfrm>
            <a:custGeom>
              <a:avLst/>
              <a:gdLst/>
              <a:ahLst/>
              <a:cxnLst/>
              <a:rect l="l" t="t" r="r" b="b"/>
              <a:pathLst>
                <a:path w="73660" h="112394">
                  <a:moveTo>
                    <a:pt x="11874" y="0"/>
                  </a:moveTo>
                  <a:lnTo>
                    <a:pt x="0" y="0"/>
                  </a:lnTo>
                  <a:lnTo>
                    <a:pt x="0" y="112242"/>
                  </a:lnTo>
                  <a:lnTo>
                    <a:pt x="11874" y="112242"/>
                  </a:lnTo>
                  <a:lnTo>
                    <a:pt x="11874" y="0"/>
                  </a:lnTo>
                  <a:close/>
                </a:path>
                <a:path w="73660" h="112394">
                  <a:moveTo>
                    <a:pt x="73329" y="0"/>
                  </a:moveTo>
                  <a:lnTo>
                    <a:pt x="61455" y="0"/>
                  </a:lnTo>
                  <a:lnTo>
                    <a:pt x="61455" y="112242"/>
                  </a:lnTo>
                  <a:lnTo>
                    <a:pt x="73329" y="112242"/>
                  </a:lnTo>
                  <a:lnTo>
                    <a:pt x="73329" y="0"/>
                  </a:lnTo>
                  <a:close/>
                </a:path>
              </a:pathLst>
            </a:custGeom>
            <a:solidFill>
              <a:srgbClr val="000000"/>
            </a:solidFill>
          </p:spPr>
          <p:txBody>
            <a:bodyPr wrap="square" lIns="0" tIns="0" rIns="0" bIns="0" rtlCol="0"/>
            <a:lstStyle/>
            <a:p>
              <a:endParaRPr sz="2118"/>
            </a:p>
          </p:txBody>
        </p:sp>
        <p:pic>
          <p:nvPicPr>
            <p:cNvPr id="48" name="object 48"/>
            <p:cNvPicPr/>
            <p:nvPr/>
          </p:nvPicPr>
          <p:blipFill>
            <a:blip r:embed="rId29" cstate="print"/>
            <a:stretch>
              <a:fillRect/>
            </a:stretch>
          </p:blipFill>
          <p:spPr>
            <a:xfrm>
              <a:off x="2058247" y="1208335"/>
              <a:ext cx="89505" cy="112244"/>
            </a:xfrm>
            <a:prstGeom prst="rect">
              <a:avLst/>
            </a:prstGeom>
          </p:spPr>
        </p:pic>
        <p:sp>
          <p:nvSpPr>
            <p:cNvPr id="49" name="object 49"/>
            <p:cNvSpPr/>
            <p:nvPr/>
          </p:nvSpPr>
          <p:spPr>
            <a:xfrm>
              <a:off x="2186870" y="1208335"/>
              <a:ext cx="12065" cy="112395"/>
            </a:xfrm>
            <a:custGeom>
              <a:avLst/>
              <a:gdLst/>
              <a:ahLst/>
              <a:cxnLst/>
              <a:rect l="l" t="t" r="r" b="b"/>
              <a:pathLst>
                <a:path w="12064" h="112394">
                  <a:moveTo>
                    <a:pt x="11870" y="112244"/>
                  </a:moveTo>
                  <a:lnTo>
                    <a:pt x="0" y="112244"/>
                  </a:lnTo>
                  <a:lnTo>
                    <a:pt x="0" y="0"/>
                  </a:lnTo>
                  <a:lnTo>
                    <a:pt x="11870" y="0"/>
                  </a:lnTo>
                  <a:lnTo>
                    <a:pt x="11870" y="112244"/>
                  </a:lnTo>
                  <a:close/>
                </a:path>
              </a:pathLst>
            </a:custGeom>
            <a:solidFill>
              <a:srgbClr val="000000"/>
            </a:solidFill>
          </p:spPr>
          <p:txBody>
            <a:bodyPr wrap="square" lIns="0" tIns="0" rIns="0" bIns="0" rtlCol="0"/>
            <a:lstStyle/>
            <a:p>
              <a:endParaRPr sz="2118"/>
            </a:p>
          </p:txBody>
        </p:sp>
        <p:pic>
          <p:nvPicPr>
            <p:cNvPr id="50" name="object 50"/>
            <p:cNvPicPr/>
            <p:nvPr/>
          </p:nvPicPr>
          <p:blipFill>
            <a:blip r:embed="rId30" cstate="print"/>
            <a:stretch>
              <a:fillRect/>
            </a:stretch>
          </p:blipFill>
          <p:spPr>
            <a:xfrm>
              <a:off x="2237358" y="1207046"/>
              <a:ext cx="83830" cy="114697"/>
            </a:xfrm>
            <a:prstGeom prst="rect">
              <a:avLst/>
            </a:prstGeom>
          </p:spPr>
        </p:pic>
        <p:pic>
          <p:nvPicPr>
            <p:cNvPr id="51" name="object 51"/>
            <p:cNvPicPr/>
            <p:nvPr/>
          </p:nvPicPr>
          <p:blipFill>
            <a:blip r:embed="rId31" cstate="print"/>
            <a:stretch>
              <a:fillRect/>
            </a:stretch>
          </p:blipFill>
          <p:spPr>
            <a:xfrm>
              <a:off x="2348551" y="1207046"/>
              <a:ext cx="84080" cy="114597"/>
            </a:xfrm>
            <a:prstGeom prst="rect">
              <a:avLst/>
            </a:prstGeom>
          </p:spPr>
        </p:pic>
        <p:pic>
          <p:nvPicPr>
            <p:cNvPr id="52" name="object 52"/>
            <p:cNvPicPr/>
            <p:nvPr/>
          </p:nvPicPr>
          <p:blipFill>
            <a:blip r:embed="rId32" cstate="print"/>
            <a:stretch>
              <a:fillRect/>
            </a:stretch>
          </p:blipFill>
          <p:spPr>
            <a:xfrm>
              <a:off x="2452932" y="1181474"/>
              <a:ext cx="114248" cy="139106"/>
            </a:xfrm>
            <a:prstGeom prst="rect">
              <a:avLst/>
            </a:prstGeom>
          </p:spPr>
        </p:pic>
        <p:sp>
          <p:nvSpPr>
            <p:cNvPr id="53" name="object 53"/>
            <p:cNvSpPr/>
            <p:nvPr/>
          </p:nvSpPr>
          <p:spPr>
            <a:xfrm>
              <a:off x="922878" y="1461524"/>
              <a:ext cx="2620010" cy="0"/>
            </a:xfrm>
            <a:custGeom>
              <a:avLst/>
              <a:gdLst/>
              <a:ahLst/>
              <a:cxnLst/>
              <a:rect l="l" t="t" r="r" b="b"/>
              <a:pathLst>
                <a:path w="2620010">
                  <a:moveTo>
                    <a:pt x="0" y="0"/>
                  </a:moveTo>
                  <a:lnTo>
                    <a:pt x="2619544" y="0"/>
                  </a:lnTo>
                </a:path>
              </a:pathLst>
            </a:custGeom>
            <a:ln w="3756">
              <a:solidFill>
                <a:srgbClr val="000000"/>
              </a:solidFill>
            </a:ln>
          </p:spPr>
          <p:txBody>
            <a:bodyPr wrap="square" lIns="0" tIns="0" rIns="0" bIns="0" rtlCol="0"/>
            <a:lstStyle/>
            <a:p>
              <a:endParaRPr sz="2118"/>
            </a:p>
          </p:txBody>
        </p:sp>
        <p:sp>
          <p:nvSpPr>
            <p:cNvPr id="54" name="object 54"/>
            <p:cNvSpPr/>
            <p:nvPr/>
          </p:nvSpPr>
          <p:spPr>
            <a:xfrm>
              <a:off x="1721662" y="2527782"/>
              <a:ext cx="255270" cy="168910"/>
            </a:xfrm>
            <a:custGeom>
              <a:avLst/>
              <a:gdLst/>
              <a:ahLst/>
              <a:cxnLst/>
              <a:rect l="l" t="t" r="r" b="b"/>
              <a:pathLst>
                <a:path w="255269" h="168910">
                  <a:moveTo>
                    <a:pt x="56743" y="495"/>
                  </a:moveTo>
                  <a:lnTo>
                    <a:pt x="0" y="495"/>
                  </a:lnTo>
                  <a:lnTo>
                    <a:pt x="0" y="168795"/>
                  </a:lnTo>
                  <a:lnTo>
                    <a:pt x="56743" y="168795"/>
                  </a:lnTo>
                  <a:lnTo>
                    <a:pt x="56743" y="495"/>
                  </a:lnTo>
                  <a:close/>
                </a:path>
                <a:path w="255269" h="168910">
                  <a:moveTo>
                    <a:pt x="254838" y="0"/>
                  </a:moveTo>
                  <a:lnTo>
                    <a:pt x="198132" y="0"/>
                  </a:lnTo>
                  <a:lnTo>
                    <a:pt x="198132" y="59690"/>
                  </a:lnTo>
                  <a:lnTo>
                    <a:pt x="145694" y="59690"/>
                  </a:lnTo>
                  <a:lnTo>
                    <a:pt x="145694" y="0"/>
                  </a:lnTo>
                  <a:lnTo>
                    <a:pt x="88950" y="0"/>
                  </a:lnTo>
                  <a:lnTo>
                    <a:pt x="88950" y="59690"/>
                  </a:lnTo>
                  <a:lnTo>
                    <a:pt x="88950" y="106680"/>
                  </a:lnTo>
                  <a:lnTo>
                    <a:pt x="88950" y="168910"/>
                  </a:lnTo>
                  <a:lnTo>
                    <a:pt x="145694" y="168910"/>
                  </a:lnTo>
                  <a:lnTo>
                    <a:pt x="145694" y="106680"/>
                  </a:lnTo>
                  <a:lnTo>
                    <a:pt x="198132" y="106680"/>
                  </a:lnTo>
                  <a:lnTo>
                    <a:pt x="198132" y="168910"/>
                  </a:lnTo>
                  <a:lnTo>
                    <a:pt x="254838" y="168910"/>
                  </a:lnTo>
                  <a:lnTo>
                    <a:pt x="254838" y="106680"/>
                  </a:lnTo>
                  <a:lnTo>
                    <a:pt x="254838" y="59690"/>
                  </a:lnTo>
                  <a:lnTo>
                    <a:pt x="254838" y="0"/>
                  </a:lnTo>
                  <a:close/>
                </a:path>
              </a:pathLst>
            </a:custGeom>
            <a:solidFill>
              <a:srgbClr val="F72E40"/>
            </a:solidFill>
          </p:spPr>
          <p:txBody>
            <a:bodyPr wrap="square" lIns="0" tIns="0" rIns="0" bIns="0" rtlCol="0"/>
            <a:lstStyle/>
            <a:p>
              <a:endParaRPr sz="2118"/>
            </a:p>
          </p:txBody>
        </p:sp>
        <p:pic>
          <p:nvPicPr>
            <p:cNvPr id="55" name="object 55"/>
            <p:cNvPicPr/>
            <p:nvPr/>
          </p:nvPicPr>
          <p:blipFill>
            <a:blip r:embed="rId33" cstate="print"/>
            <a:stretch>
              <a:fillRect/>
            </a:stretch>
          </p:blipFill>
          <p:spPr>
            <a:xfrm>
              <a:off x="2008711" y="2528175"/>
              <a:ext cx="202000" cy="168392"/>
            </a:xfrm>
            <a:prstGeom prst="rect">
              <a:avLst/>
            </a:prstGeom>
          </p:spPr>
        </p:pic>
        <p:sp>
          <p:nvSpPr>
            <p:cNvPr id="56" name="object 56"/>
            <p:cNvSpPr/>
            <p:nvPr/>
          </p:nvSpPr>
          <p:spPr>
            <a:xfrm>
              <a:off x="2242909" y="2474175"/>
              <a:ext cx="588010" cy="226060"/>
            </a:xfrm>
            <a:custGeom>
              <a:avLst/>
              <a:gdLst/>
              <a:ahLst/>
              <a:cxnLst/>
              <a:rect l="l" t="t" r="r" b="b"/>
              <a:pathLst>
                <a:path w="588010" h="226060">
                  <a:moveTo>
                    <a:pt x="56705" y="54102"/>
                  </a:moveTo>
                  <a:lnTo>
                    <a:pt x="0" y="54102"/>
                  </a:lnTo>
                  <a:lnTo>
                    <a:pt x="0" y="222402"/>
                  </a:lnTo>
                  <a:lnTo>
                    <a:pt x="56705" y="222402"/>
                  </a:lnTo>
                  <a:lnTo>
                    <a:pt x="56705" y="54102"/>
                  </a:lnTo>
                  <a:close/>
                </a:path>
                <a:path w="588010" h="226060">
                  <a:moveTo>
                    <a:pt x="229895" y="169100"/>
                  </a:moveTo>
                  <a:lnTo>
                    <a:pt x="209638" y="131305"/>
                  </a:lnTo>
                  <a:lnTo>
                    <a:pt x="172974" y="118516"/>
                  </a:lnTo>
                  <a:lnTo>
                    <a:pt x="157454" y="115697"/>
                  </a:lnTo>
                  <a:lnTo>
                    <a:pt x="150329" y="113893"/>
                  </a:lnTo>
                  <a:lnTo>
                    <a:pt x="143357" y="111506"/>
                  </a:lnTo>
                  <a:lnTo>
                    <a:pt x="139039" y="109855"/>
                  </a:lnTo>
                  <a:lnTo>
                    <a:pt x="136893" y="107302"/>
                  </a:lnTo>
                  <a:lnTo>
                    <a:pt x="136855" y="96901"/>
                  </a:lnTo>
                  <a:lnTo>
                    <a:pt x="144132" y="93370"/>
                  </a:lnTo>
                  <a:lnTo>
                    <a:pt x="158724" y="93370"/>
                  </a:lnTo>
                  <a:lnTo>
                    <a:pt x="171018" y="94386"/>
                  </a:lnTo>
                  <a:lnTo>
                    <a:pt x="182918" y="96812"/>
                  </a:lnTo>
                  <a:lnTo>
                    <a:pt x="194449" y="100647"/>
                  </a:lnTo>
                  <a:lnTo>
                    <a:pt x="205613" y="105892"/>
                  </a:lnTo>
                  <a:lnTo>
                    <a:pt x="222694" y="64770"/>
                  </a:lnTo>
                  <a:lnTo>
                    <a:pt x="184810" y="52184"/>
                  </a:lnTo>
                  <a:lnTo>
                    <a:pt x="159232" y="50101"/>
                  </a:lnTo>
                  <a:lnTo>
                    <a:pt x="148221" y="50342"/>
                  </a:lnTo>
                  <a:lnTo>
                    <a:pt x="108521" y="61188"/>
                  </a:lnTo>
                  <a:lnTo>
                    <a:pt x="83007" y="91706"/>
                  </a:lnTo>
                  <a:lnTo>
                    <a:pt x="80848" y="106845"/>
                  </a:lnTo>
                  <a:lnTo>
                    <a:pt x="81114" y="114795"/>
                  </a:lnTo>
                  <a:lnTo>
                    <a:pt x="106667" y="148412"/>
                  </a:lnTo>
                  <a:lnTo>
                    <a:pt x="145503" y="159943"/>
                  </a:lnTo>
                  <a:lnTo>
                    <a:pt x="152920" y="161302"/>
                  </a:lnTo>
                  <a:lnTo>
                    <a:pt x="160185" y="163245"/>
                  </a:lnTo>
                  <a:lnTo>
                    <a:pt x="167297" y="165747"/>
                  </a:lnTo>
                  <a:lnTo>
                    <a:pt x="171704" y="167500"/>
                  </a:lnTo>
                  <a:lnTo>
                    <a:pt x="173901" y="170154"/>
                  </a:lnTo>
                  <a:lnTo>
                    <a:pt x="173850" y="177126"/>
                  </a:lnTo>
                  <a:lnTo>
                    <a:pt x="172186" y="179412"/>
                  </a:lnTo>
                  <a:lnTo>
                    <a:pt x="163436" y="182346"/>
                  </a:lnTo>
                  <a:lnTo>
                    <a:pt x="157822" y="183108"/>
                  </a:lnTo>
                  <a:lnTo>
                    <a:pt x="152069" y="182778"/>
                  </a:lnTo>
                  <a:lnTo>
                    <a:pt x="144805" y="182486"/>
                  </a:lnTo>
                  <a:lnTo>
                    <a:pt x="102984" y="170853"/>
                  </a:lnTo>
                  <a:lnTo>
                    <a:pt x="96520" y="167398"/>
                  </a:lnTo>
                  <a:lnTo>
                    <a:pt x="78244" y="208775"/>
                  </a:lnTo>
                  <a:lnTo>
                    <a:pt x="120992" y="223507"/>
                  </a:lnTo>
                  <a:lnTo>
                    <a:pt x="151511" y="225856"/>
                  </a:lnTo>
                  <a:lnTo>
                    <a:pt x="162534" y="225602"/>
                  </a:lnTo>
                  <a:lnTo>
                    <a:pt x="202209" y="214591"/>
                  </a:lnTo>
                  <a:lnTo>
                    <a:pt x="227761" y="184162"/>
                  </a:lnTo>
                  <a:lnTo>
                    <a:pt x="229400" y="176809"/>
                  </a:lnTo>
                  <a:lnTo>
                    <a:pt x="229895" y="169100"/>
                  </a:lnTo>
                  <a:close/>
                </a:path>
                <a:path w="588010" h="226060">
                  <a:moveTo>
                    <a:pt x="391833" y="53606"/>
                  </a:moveTo>
                  <a:lnTo>
                    <a:pt x="236562" y="53606"/>
                  </a:lnTo>
                  <a:lnTo>
                    <a:pt x="236562" y="98056"/>
                  </a:lnTo>
                  <a:lnTo>
                    <a:pt x="285851" y="98056"/>
                  </a:lnTo>
                  <a:lnTo>
                    <a:pt x="285851" y="222516"/>
                  </a:lnTo>
                  <a:lnTo>
                    <a:pt x="342544" y="222516"/>
                  </a:lnTo>
                  <a:lnTo>
                    <a:pt x="342544" y="98056"/>
                  </a:lnTo>
                  <a:lnTo>
                    <a:pt x="391833" y="98056"/>
                  </a:lnTo>
                  <a:lnTo>
                    <a:pt x="391833" y="53606"/>
                  </a:lnTo>
                  <a:close/>
                </a:path>
                <a:path w="588010" h="226060">
                  <a:moveTo>
                    <a:pt x="481215" y="15379"/>
                  </a:moveTo>
                  <a:lnTo>
                    <a:pt x="462241" y="12"/>
                  </a:lnTo>
                  <a:lnTo>
                    <a:pt x="456501" y="12"/>
                  </a:lnTo>
                  <a:lnTo>
                    <a:pt x="437502" y="15367"/>
                  </a:lnTo>
                  <a:lnTo>
                    <a:pt x="437718" y="21399"/>
                  </a:lnTo>
                  <a:lnTo>
                    <a:pt x="437540" y="27305"/>
                  </a:lnTo>
                  <a:lnTo>
                    <a:pt x="456514" y="42278"/>
                  </a:lnTo>
                  <a:lnTo>
                    <a:pt x="462229" y="42278"/>
                  </a:lnTo>
                  <a:lnTo>
                    <a:pt x="481164" y="27317"/>
                  </a:lnTo>
                  <a:lnTo>
                    <a:pt x="480987" y="21399"/>
                  </a:lnTo>
                  <a:lnTo>
                    <a:pt x="481215" y="15379"/>
                  </a:lnTo>
                  <a:close/>
                </a:path>
                <a:path w="588010" h="226060">
                  <a:moveTo>
                    <a:pt x="534631" y="15379"/>
                  </a:moveTo>
                  <a:lnTo>
                    <a:pt x="515670" y="0"/>
                  </a:lnTo>
                  <a:lnTo>
                    <a:pt x="509917" y="0"/>
                  </a:lnTo>
                  <a:lnTo>
                    <a:pt x="490956" y="15379"/>
                  </a:lnTo>
                  <a:lnTo>
                    <a:pt x="491159" y="21399"/>
                  </a:lnTo>
                  <a:lnTo>
                    <a:pt x="491007" y="27292"/>
                  </a:lnTo>
                  <a:lnTo>
                    <a:pt x="509930" y="42291"/>
                  </a:lnTo>
                  <a:lnTo>
                    <a:pt x="515645" y="42291"/>
                  </a:lnTo>
                  <a:lnTo>
                    <a:pt x="534581" y="27292"/>
                  </a:lnTo>
                  <a:lnTo>
                    <a:pt x="534428" y="21399"/>
                  </a:lnTo>
                  <a:lnTo>
                    <a:pt x="534631" y="15379"/>
                  </a:lnTo>
                  <a:close/>
                </a:path>
                <a:path w="588010" h="226060">
                  <a:moveTo>
                    <a:pt x="587578" y="222402"/>
                  </a:moveTo>
                  <a:lnTo>
                    <a:pt x="574738" y="193052"/>
                  </a:lnTo>
                  <a:lnTo>
                    <a:pt x="556869" y="152171"/>
                  </a:lnTo>
                  <a:lnTo>
                    <a:pt x="538365" y="109855"/>
                  </a:lnTo>
                  <a:lnTo>
                    <a:pt x="513994" y="54102"/>
                  </a:lnTo>
                  <a:lnTo>
                    <a:pt x="501967" y="54102"/>
                  </a:lnTo>
                  <a:lnTo>
                    <a:pt x="501967" y="152171"/>
                  </a:lnTo>
                  <a:lnTo>
                    <a:pt x="469265" y="152171"/>
                  </a:lnTo>
                  <a:lnTo>
                    <a:pt x="485648" y="109855"/>
                  </a:lnTo>
                  <a:lnTo>
                    <a:pt x="501967" y="152171"/>
                  </a:lnTo>
                  <a:lnTo>
                    <a:pt x="501967" y="54102"/>
                  </a:lnTo>
                  <a:lnTo>
                    <a:pt x="458203" y="54102"/>
                  </a:lnTo>
                  <a:lnTo>
                    <a:pt x="384670" y="222402"/>
                  </a:lnTo>
                  <a:lnTo>
                    <a:pt x="442620" y="222402"/>
                  </a:lnTo>
                  <a:lnTo>
                    <a:pt x="453885" y="193052"/>
                  </a:lnTo>
                  <a:lnTo>
                    <a:pt x="517601" y="193052"/>
                  </a:lnTo>
                  <a:lnTo>
                    <a:pt x="529018" y="222402"/>
                  </a:lnTo>
                  <a:lnTo>
                    <a:pt x="587578" y="222402"/>
                  </a:lnTo>
                  <a:close/>
                </a:path>
              </a:pathLst>
            </a:custGeom>
            <a:solidFill>
              <a:srgbClr val="F72E40"/>
            </a:solidFill>
          </p:spPr>
          <p:txBody>
            <a:bodyPr wrap="square" lIns="0" tIns="0" rIns="0" bIns="0" rtlCol="0"/>
            <a:lstStyle/>
            <a:p>
              <a:endParaRPr sz="2118"/>
            </a:p>
          </p:txBody>
        </p:sp>
        <p:pic>
          <p:nvPicPr>
            <p:cNvPr id="57" name="object 57"/>
            <p:cNvPicPr/>
            <p:nvPr/>
          </p:nvPicPr>
          <p:blipFill>
            <a:blip r:embed="rId34" cstate="print"/>
            <a:stretch>
              <a:fillRect/>
            </a:stretch>
          </p:blipFill>
          <p:spPr>
            <a:xfrm>
              <a:off x="1627801" y="2806658"/>
              <a:ext cx="1263141" cy="181133"/>
            </a:xfrm>
            <a:prstGeom prst="rect">
              <a:avLst/>
            </a:prstGeom>
          </p:spPr>
        </p:pic>
        <p:sp>
          <p:nvSpPr>
            <p:cNvPr id="58" name="object 58"/>
            <p:cNvSpPr/>
            <p:nvPr/>
          </p:nvSpPr>
          <p:spPr>
            <a:xfrm>
              <a:off x="3131820" y="1741169"/>
              <a:ext cx="414020" cy="301625"/>
            </a:xfrm>
            <a:custGeom>
              <a:avLst/>
              <a:gdLst/>
              <a:ahLst/>
              <a:cxnLst/>
              <a:rect l="l" t="t" r="r" b="b"/>
              <a:pathLst>
                <a:path w="414020" h="301625">
                  <a:moveTo>
                    <a:pt x="103466" y="164325"/>
                  </a:moveTo>
                  <a:lnTo>
                    <a:pt x="87033" y="164325"/>
                  </a:lnTo>
                  <a:lnTo>
                    <a:pt x="87033" y="301371"/>
                  </a:lnTo>
                  <a:lnTo>
                    <a:pt x="103466" y="301371"/>
                  </a:lnTo>
                  <a:lnTo>
                    <a:pt x="103466" y="164325"/>
                  </a:lnTo>
                  <a:close/>
                </a:path>
                <a:path w="414020" h="301625">
                  <a:moveTo>
                    <a:pt x="240106" y="122656"/>
                  </a:moveTo>
                  <a:lnTo>
                    <a:pt x="239420" y="120497"/>
                  </a:lnTo>
                  <a:lnTo>
                    <a:pt x="237744" y="118656"/>
                  </a:lnTo>
                  <a:lnTo>
                    <a:pt x="212140" y="80467"/>
                  </a:lnTo>
                  <a:lnTo>
                    <a:pt x="186207" y="42570"/>
                  </a:lnTo>
                  <a:lnTo>
                    <a:pt x="155676" y="11468"/>
                  </a:lnTo>
                  <a:lnTo>
                    <a:pt x="116332" y="444"/>
                  </a:lnTo>
                  <a:lnTo>
                    <a:pt x="57073" y="457"/>
                  </a:lnTo>
                  <a:lnTo>
                    <a:pt x="53352" y="838"/>
                  </a:lnTo>
                  <a:lnTo>
                    <a:pt x="49669" y="1600"/>
                  </a:lnTo>
                  <a:lnTo>
                    <a:pt x="42583" y="2908"/>
                  </a:lnTo>
                  <a:lnTo>
                    <a:pt x="9131" y="28562"/>
                  </a:lnTo>
                  <a:lnTo>
                    <a:pt x="0" y="55410"/>
                  </a:lnTo>
                  <a:lnTo>
                    <a:pt x="177" y="62611"/>
                  </a:lnTo>
                  <a:lnTo>
                    <a:pt x="330" y="110464"/>
                  </a:lnTo>
                  <a:lnTo>
                    <a:pt x="177" y="126415"/>
                  </a:lnTo>
                  <a:lnTo>
                    <a:pt x="228" y="131165"/>
                  </a:lnTo>
                  <a:lnTo>
                    <a:pt x="977" y="135788"/>
                  </a:lnTo>
                  <a:lnTo>
                    <a:pt x="26517" y="168008"/>
                  </a:lnTo>
                  <a:lnTo>
                    <a:pt x="32258" y="169887"/>
                  </a:lnTo>
                  <a:lnTo>
                    <a:pt x="33248" y="170573"/>
                  </a:lnTo>
                  <a:lnTo>
                    <a:pt x="34709" y="172732"/>
                  </a:lnTo>
                  <a:lnTo>
                    <a:pt x="34988" y="173913"/>
                  </a:lnTo>
                  <a:lnTo>
                    <a:pt x="34798" y="175196"/>
                  </a:lnTo>
                  <a:lnTo>
                    <a:pt x="34798" y="301269"/>
                  </a:lnTo>
                  <a:lnTo>
                    <a:pt x="51269" y="301269"/>
                  </a:lnTo>
                  <a:lnTo>
                    <a:pt x="51523" y="299770"/>
                  </a:lnTo>
                  <a:lnTo>
                    <a:pt x="51523" y="74930"/>
                  </a:lnTo>
                  <a:lnTo>
                    <a:pt x="51701" y="73812"/>
                  </a:lnTo>
                  <a:lnTo>
                    <a:pt x="51701" y="72694"/>
                  </a:lnTo>
                  <a:lnTo>
                    <a:pt x="51523" y="71564"/>
                  </a:lnTo>
                  <a:lnTo>
                    <a:pt x="51269" y="70713"/>
                  </a:lnTo>
                  <a:lnTo>
                    <a:pt x="50317" y="69519"/>
                  </a:lnTo>
                  <a:lnTo>
                    <a:pt x="34988" y="69519"/>
                  </a:lnTo>
                  <a:lnTo>
                    <a:pt x="34988" y="152565"/>
                  </a:lnTo>
                  <a:lnTo>
                    <a:pt x="30086" y="150774"/>
                  </a:lnTo>
                  <a:lnTo>
                    <a:pt x="26035" y="147815"/>
                  </a:lnTo>
                  <a:lnTo>
                    <a:pt x="19697" y="139509"/>
                  </a:lnTo>
                  <a:lnTo>
                    <a:pt x="17894" y="134823"/>
                  </a:lnTo>
                  <a:lnTo>
                    <a:pt x="17462" y="129616"/>
                  </a:lnTo>
                  <a:lnTo>
                    <a:pt x="17487" y="55765"/>
                  </a:lnTo>
                  <a:lnTo>
                    <a:pt x="41389" y="21450"/>
                  </a:lnTo>
                  <a:lnTo>
                    <a:pt x="56045" y="17106"/>
                  </a:lnTo>
                  <a:lnTo>
                    <a:pt x="124269" y="17145"/>
                  </a:lnTo>
                  <a:lnTo>
                    <a:pt x="164020" y="40322"/>
                  </a:lnTo>
                  <a:lnTo>
                    <a:pt x="191579" y="78143"/>
                  </a:lnTo>
                  <a:lnTo>
                    <a:pt x="220472" y="121348"/>
                  </a:lnTo>
                  <a:lnTo>
                    <a:pt x="220624" y="122516"/>
                  </a:lnTo>
                  <a:lnTo>
                    <a:pt x="220218" y="123761"/>
                  </a:lnTo>
                  <a:lnTo>
                    <a:pt x="182943" y="112522"/>
                  </a:lnTo>
                  <a:lnTo>
                    <a:pt x="170611" y="99504"/>
                  </a:lnTo>
                  <a:lnTo>
                    <a:pt x="145834" y="73571"/>
                  </a:lnTo>
                  <a:lnTo>
                    <a:pt x="144081" y="71615"/>
                  </a:lnTo>
                  <a:lnTo>
                    <a:pt x="141947" y="70269"/>
                  </a:lnTo>
                  <a:lnTo>
                    <a:pt x="139420" y="69519"/>
                  </a:lnTo>
                  <a:lnTo>
                    <a:pt x="133667" y="68465"/>
                  </a:lnTo>
                  <a:lnTo>
                    <a:pt x="129806" y="72669"/>
                  </a:lnTo>
                  <a:lnTo>
                    <a:pt x="129806" y="301371"/>
                  </a:lnTo>
                  <a:lnTo>
                    <a:pt x="146189" y="301218"/>
                  </a:lnTo>
                  <a:lnTo>
                    <a:pt x="146088" y="300113"/>
                  </a:lnTo>
                  <a:lnTo>
                    <a:pt x="145834" y="299008"/>
                  </a:lnTo>
                  <a:lnTo>
                    <a:pt x="145834" y="101968"/>
                  </a:lnTo>
                  <a:lnTo>
                    <a:pt x="146088" y="100876"/>
                  </a:lnTo>
                  <a:lnTo>
                    <a:pt x="146088" y="99720"/>
                  </a:lnTo>
                  <a:lnTo>
                    <a:pt x="147193" y="99212"/>
                  </a:lnTo>
                  <a:lnTo>
                    <a:pt x="147967" y="100342"/>
                  </a:lnTo>
                  <a:lnTo>
                    <a:pt x="149694" y="102476"/>
                  </a:lnTo>
                  <a:lnTo>
                    <a:pt x="182753" y="137541"/>
                  </a:lnTo>
                  <a:lnTo>
                    <a:pt x="185597" y="140919"/>
                  </a:lnTo>
                  <a:lnTo>
                    <a:pt x="189014" y="143560"/>
                  </a:lnTo>
                  <a:lnTo>
                    <a:pt x="197002" y="147358"/>
                  </a:lnTo>
                  <a:lnTo>
                    <a:pt x="201206" y="148348"/>
                  </a:lnTo>
                  <a:lnTo>
                    <a:pt x="210058" y="148501"/>
                  </a:lnTo>
                  <a:lnTo>
                    <a:pt x="214299" y="147662"/>
                  </a:lnTo>
                  <a:lnTo>
                    <a:pt x="222402" y="144145"/>
                  </a:lnTo>
                  <a:lnTo>
                    <a:pt x="225920" y="141617"/>
                  </a:lnTo>
                  <a:lnTo>
                    <a:pt x="228879" y="138341"/>
                  </a:lnTo>
                  <a:lnTo>
                    <a:pt x="236347" y="130975"/>
                  </a:lnTo>
                  <a:lnTo>
                    <a:pt x="238379" y="129552"/>
                  </a:lnTo>
                  <a:lnTo>
                    <a:pt x="239547" y="127596"/>
                  </a:lnTo>
                  <a:lnTo>
                    <a:pt x="240106" y="122656"/>
                  </a:lnTo>
                  <a:close/>
                </a:path>
                <a:path w="414020" h="301625">
                  <a:moveTo>
                    <a:pt x="275437" y="76606"/>
                  </a:moveTo>
                  <a:lnTo>
                    <a:pt x="275018" y="74790"/>
                  </a:lnTo>
                  <a:lnTo>
                    <a:pt x="272872" y="71450"/>
                  </a:lnTo>
                  <a:lnTo>
                    <a:pt x="271399" y="70307"/>
                  </a:lnTo>
                  <a:lnTo>
                    <a:pt x="267614" y="69088"/>
                  </a:lnTo>
                  <a:lnTo>
                    <a:pt x="265747" y="69151"/>
                  </a:lnTo>
                  <a:lnTo>
                    <a:pt x="262051" y="70599"/>
                  </a:lnTo>
                  <a:lnTo>
                    <a:pt x="260642" y="71843"/>
                  </a:lnTo>
                  <a:lnTo>
                    <a:pt x="259689" y="73571"/>
                  </a:lnTo>
                  <a:lnTo>
                    <a:pt x="255752" y="78651"/>
                  </a:lnTo>
                  <a:lnTo>
                    <a:pt x="234784" y="106730"/>
                  </a:lnTo>
                  <a:lnTo>
                    <a:pt x="248018" y="116751"/>
                  </a:lnTo>
                  <a:lnTo>
                    <a:pt x="258025" y="103924"/>
                  </a:lnTo>
                  <a:lnTo>
                    <a:pt x="258978" y="104432"/>
                  </a:lnTo>
                  <a:lnTo>
                    <a:pt x="258978" y="301371"/>
                  </a:lnTo>
                  <a:lnTo>
                    <a:pt x="275209" y="301421"/>
                  </a:lnTo>
                  <a:lnTo>
                    <a:pt x="275209" y="78587"/>
                  </a:lnTo>
                  <a:lnTo>
                    <a:pt x="275437" y="76606"/>
                  </a:lnTo>
                  <a:close/>
                </a:path>
                <a:path w="414020" h="301625">
                  <a:moveTo>
                    <a:pt x="327304" y="164325"/>
                  </a:moveTo>
                  <a:lnTo>
                    <a:pt x="310769" y="164325"/>
                  </a:lnTo>
                  <a:lnTo>
                    <a:pt x="310769" y="301371"/>
                  </a:lnTo>
                  <a:lnTo>
                    <a:pt x="327304" y="301371"/>
                  </a:lnTo>
                  <a:lnTo>
                    <a:pt x="327304" y="164325"/>
                  </a:lnTo>
                  <a:close/>
                </a:path>
                <a:path w="414020" h="301625">
                  <a:moveTo>
                    <a:pt x="413397" y="55346"/>
                  </a:moveTo>
                  <a:lnTo>
                    <a:pt x="413042" y="54546"/>
                  </a:lnTo>
                  <a:lnTo>
                    <a:pt x="412546" y="52882"/>
                  </a:lnTo>
                  <a:lnTo>
                    <a:pt x="411581" y="45593"/>
                  </a:lnTo>
                  <a:lnTo>
                    <a:pt x="409359" y="38709"/>
                  </a:lnTo>
                  <a:lnTo>
                    <a:pt x="380669" y="6591"/>
                  </a:lnTo>
                  <a:lnTo>
                    <a:pt x="290360" y="0"/>
                  </a:lnTo>
                  <a:lnTo>
                    <a:pt x="286524" y="381"/>
                  </a:lnTo>
                  <a:lnTo>
                    <a:pt x="248246" y="20281"/>
                  </a:lnTo>
                  <a:lnTo>
                    <a:pt x="218211" y="63055"/>
                  </a:lnTo>
                  <a:lnTo>
                    <a:pt x="218211" y="63957"/>
                  </a:lnTo>
                  <a:lnTo>
                    <a:pt x="231228" y="72872"/>
                  </a:lnTo>
                  <a:lnTo>
                    <a:pt x="232841" y="70815"/>
                  </a:lnTo>
                  <a:lnTo>
                    <a:pt x="244563" y="52755"/>
                  </a:lnTo>
                  <a:lnTo>
                    <a:pt x="252857" y="40944"/>
                  </a:lnTo>
                  <a:lnTo>
                    <a:pt x="284556" y="17564"/>
                  </a:lnTo>
                  <a:lnTo>
                    <a:pt x="293090" y="16725"/>
                  </a:lnTo>
                  <a:lnTo>
                    <a:pt x="359181" y="16751"/>
                  </a:lnTo>
                  <a:lnTo>
                    <a:pt x="391617" y="39230"/>
                  </a:lnTo>
                  <a:lnTo>
                    <a:pt x="396735" y="55918"/>
                  </a:lnTo>
                  <a:lnTo>
                    <a:pt x="396519" y="61798"/>
                  </a:lnTo>
                  <a:lnTo>
                    <a:pt x="396201" y="78117"/>
                  </a:lnTo>
                  <a:lnTo>
                    <a:pt x="396100" y="94411"/>
                  </a:lnTo>
                  <a:lnTo>
                    <a:pt x="396201" y="110680"/>
                  </a:lnTo>
                  <a:lnTo>
                    <a:pt x="396519" y="126911"/>
                  </a:lnTo>
                  <a:lnTo>
                    <a:pt x="396240" y="133261"/>
                  </a:lnTo>
                  <a:lnTo>
                    <a:pt x="370370" y="155016"/>
                  </a:lnTo>
                  <a:lnTo>
                    <a:pt x="370078" y="153162"/>
                  </a:lnTo>
                  <a:lnTo>
                    <a:pt x="370027" y="71564"/>
                  </a:lnTo>
                  <a:lnTo>
                    <a:pt x="369176" y="69519"/>
                  </a:lnTo>
                  <a:lnTo>
                    <a:pt x="353542" y="69519"/>
                  </a:lnTo>
                  <a:lnTo>
                    <a:pt x="353542" y="301371"/>
                  </a:lnTo>
                  <a:lnTo>
                    <a:pt x="369976" y="300863"/>
                  </a:lnTo>
                  <a:lnTo>
                    <a:pt x="369976" y="171742"/>
                  </a:lnTo>
                  <a:lnTo>
                    <a:pt x="376643" y="170942"/>
                  </a:lnTo>
                  <a:lnTo>
                    <a:pt x="410362" y="142303"/>
                  </a:lnTo>
                  <a:lnTo>
                    <a:pt x="412826" y="133032"/>
                  </a:lnTo>
                  <a:lnTo>
                    <a:pt x="413397" y="131927"/>
                  </a:lnTo>
                  <a:lnTo>
                    <a:pt x="413397" y="55346"/>
                  </a:lnTo>
                  <a:close/>
                </a:path>
              </a:pathLst>
            </a:custGeom>
            <a:solidFill>
              <a:srgbClr val="F72E40"/>
            </a:solidFill>
          </p:spPr>
          <p:txBody>
            <a:bodyPr wrap="square" lIns="0" tIns="0" rIns="0" bIns="0" rtlCol="0"/>
            <a:lstStyle/>
            <a:p>
              <a:endParaRPr sz="2118"/>
            </a:p>
          </p:txBody>
        </p:sp>
        <p:pic>
          <p:nvPicPr>
            <p:cNvPr id="59" name="object 59"/>
            <p:cNvPicPr/>
            <p:nvPr/>
          </p:nvPicPr>
          <p:blipFill>
            <a:blip r:embed="rId12" cstate="print"/>
            <a:stretch>
              <a:fillRect/>
            </a:stretch>
          </p:blipFill>
          <p:spPr>
            <a:xfrm>
              <a:off x="3184505" y="1629363"/>
              <a:ext cx="85894" cy="103031"/>
            </a:xfrm>
            <a:prstGeom prst="rect">
              <a:avLst/>
            </a:prstGeom>
          </p:spPr>
        </p:pic>
        <p:pic>
          <p:nvPicPr>
            <p:cNvPr id="60" name="object 60"/>
            <p:cNvPicPr/>
            <p:nvPr/>
          </p:nvPicPr>
          <p:blipFill>
            <a:blip r:embed="rId35" cstate="print"/>
            <a:stretch>
              <a:fillRect/>
            </a:stretch>
          </p:blipFill>
          <p:spPr>
            <a:xfrm>
              <a:off x="3407337" y="1630267"/>
              <a:ext cx="86796" cy="102227"/>
            </a:xfrm>
            <a:prstGeom prst="rect">
              <a:avLst/>
            </a:prstGeom>
          </p:spPr>
        </p:pic>
        <p:sp>
          <p:nvSpPr>
            <p:cNvPr id="61" name="object 61"/>
            <p:cNvSpPr/>
            <p:nvPr/>
          </p:nvSpPr>
          <p:spPr>
            <a:xfrm>
              <a:off x="3136824" y="2242045"/>
              <a:ext cx="414020" cy="301625"/>
            </a:xfrm>
            <a:custGeom>
              <a:avLst/>
              <a:gdLst/>
              <a:ahLst/>
              <a:cxnLst/>
              <a:rect l="l" t="t" r="r" b="b"/>
              <a:pathLst>
                <a:path w="414020" h="301625">
                  <a:moveTo>
                    <a:pt x="103466" y="164325"/>
                  </a:moveTo>
                  <a:lnTo>
                    <a:pt x="87045" y="164325"/>
                  </a:lnTo>
                  <a:lnTo>
                    <a:pt x="87045" y="301358"/>
                  </a:lnTo>
                  <a:lnTo>
                    <a:pt x="103466" y="301358"/>
                  </a:lnTo>
                  <a:lnTo>
                    <a:pt x="103466" y="164325"/>
                  </a:lnTo>
                  <a:close/>
                </a:path>
                <a:path w="414020" h="301625">
                  <a:moveTo>
                    <a:pt x="240118" y="122656"/>
                  </a:moveTo>
                  <a:lnTo>
                    <a:pt x="239420" y="120497"/>
                  </a:lnTo>
                  <a:lnTo>
                    <a:pt x="237756" y="118643"/>
                  </a:lnTo>
                  <a:lnTo>
                    <a:pt x="212153" y="80454"/>
                  </a:lnTo>
                  <a:lnTo>
                    <a:pt x="186207" y="42557"/>
                  </a:lnTo>
                  <a:lnTo>
                    <a:pt x="155676" y="11455"/>
                  </a:lnTo>
                  <a:lnTo>
                    <a:pt x="116344" y="444"/>
                  </a:lnTo>
                  <a:lnTo>
                    <a:pt x="102476" y="546"/>
                  </a:lnTo>
                  <a:lnTo>
                    <a:pt x="57086" y="444"/>
                  </a:lnTo>
                  <a:lnTo>
                    <a:pt x="53352" y="825"/>
                  </a:lnTo>
                  <a:lnTo>
                    <a:pt x="49669" y="1587"/>
                  </a:lnTo>
                  <a:lnTo>
                    <a:pt x="42595" y="2895"/>
                  </a:lnTo>
                  <a:lnTo>
                    <a:pt x="9131" y="28549"/>
                  </a:lnTo>
                  <a:lnTo>
                    <a:pt x="0" y="55397"/>
                  </a:lnTo>
                  <a:lnTo>
                    <a:pt x="190" y="62598"/>
                  </a:lnTo>
                  <a:lnTo>
                    <a:pt x="342" y="110451"/>
                  </a:lnTo>
                  <a:lnTo>
                    <a:pt x="190" y="126403"/>
                  </a:lnTo>
                  <a:lnTo>
                    <a:pt x="228" y="131152"/>
                  </a:lnTo>
                  <a:lnTo>
                    <a:pt x="990" y="135775"/>
                  </a:lnTo>
                  <a:lnTo>
                    <a:pt x="26517" y="167995"/>
                  </a:lnTo>
                  <a:lnTo>
                    <a:pt x="32258" y="169887"/>
                  </a:lnTo>
                  <a:lnTo>
                    <a:pt x="33261" y="170573"/>
                  </a:lnTo>
                  <a:lnTo>
                    <a:pt x="34721" y="172720"/>
                  </a:lnTo>
                  <a:lnTo>
                    <a:pt x="34988" y="173901"/>
                  </a:lnTo>
                  <a:lnTo>
                    <a:pt x="34798" y="175196"/>
                  </a:lnTo>
                  <a:lnTo>
                    <a:pt x="34798" y="301256"/>
                  </a:lnTo>
                  <a:lnTo>
                    <a:pt x="51282" y="301256"/>
                  </a:lnTo>
                  <a:lnTo>
                    <a:pt x="51523" y="299758"/>
                  </a:lnTo>
                  <a:lnTo>
                    <a:pt x="51523" y="74917"/>
                  </a:lnTo>
                  <a:lnTo>
                    <a:pt x="51701" y="73799"/>
                  </a:lnTo>
                  <a:lnTo>
                    <a:pt x="51701" y="72682"/>
                  </a:lnTo>
                  <a:lnTo>
                    <a:pt x="51523" y="71564"/>
                  </a:lnTo>
                  <a:lnTo>
                    <a:pt x="51282" y="70713"/>
                  </a:lnTo>
                  <a:lnTo>
                    <a:pt x="50330" y="69507"/>
                  </a:lnTo>
                  <a:lnTo>
                    <a:pt x="35001" y="69507"/>
                  </a:lnTo>
                  <a:lnTo>
                    <a:pt x="35001" y="152552"/>
                  </a:lnTo>
                  <a:lnTo>
                    <a:pt x="30086" y="150774"/>
                  </a:lnTo>
                  <a:lnTo>
                    <a:pt x="26047" y="147802"/>
                  </a:lnTo>
                  <a:lnTo>
                    <a:pt x="19697" y="139496"/>
                  </a:lnTo>
                  <a:lnTo>
                    <a:pt x="17894" y="134823"/>
                  </a:lnTo>
                  <a:lnTo>
                    <a:pt x="17462" y="129616"/>
                  </a:lnTo>
                  <a:lnTo>
                    <a:pt x="17500" y="55753"/>
                  </a:lnTo>
                  <a:lnTo>
                    <a:pt x="41402" y="21437"/>
                  </a:lnTo>
                  <a:lnTo>
                    <a:pt x="56057" y="17106"/>
                  </a:lnTo>
                  <a:lnTo>
                    <a:pt x="124282" y="17145"/>
                  </a:lnTo>
                  <a:lnTo>
                    <a:pt x="164020" y="40309"/>
                  </a:lnTo>
                  <a:lnTo>
                    <a:pt x="191579" y="78143"/>
                  </a:lnTo>
                  <a:lnTo>
                    <a:pt x="220472" y="121348"/>
                  </a:lnTo>
                  <a:lnTo>
                    <a:pt x="220624" y="122516"/>
                  </a:lnTo>
                  <a:lnTo>
                    <a:pt x="220218" y="123748"/>
                  </a:lnTo>
                  <a:lnTo>
                    <a:pt x="182943" y="112509"/>
                  </a:lnTo>
                  <a:lnTo>
                    <a:pt x="170624" y="99491"/>
                  </a:lnTo>
                  <a:lnTo>
                    <a:pt x="145846" y="73571"/>
                  </a:lnTo>
                  <a:lnTo>
                    <a:pt x="144081" y="71615"/>
                  </a:lnTo>
                  <a:lnTo>
                    <a:pt x="141947" y="70256"/>
                  </a:lnTo>
                  <a:lnTo>
                    <a:pt x="139433" y="69507"/>
                  </a:lnTo>
                  <a:lnTo>
                    <a:pt x="133667" y="68453"/>
                  </a:lnTo>
                  <a:lnTo>
                    <a:pt x="129819" y="72669"/>
                  </a:lnTo>
                  <a:lnTo>
                    <a:pt x="129819" y="301358"/>
                  </a:lnTo>
                  <a:lnTo>
                    <a:pt x="146189" y="301218"/>
                  </a:lnTo>
                  <a:lnTo>
                    <a:pt x="146088" y="300113"/>
                  </a:lnTo>
                  <a:lnTo>
                    <a:pt x="145846" y="299008"/>
                  </a:lnTo>
                  <a:lnTo>
                    <a:pt x="145846" y="101968"/>
                  </a:lnTo>
                  <a:lnTo>
                    <a:pt x="146088" y="100863"/>
                  </a:lnTo>
                  <a:lnTo>
                    <a:pt x="146088" y="99707"/>
                  </a:lnTo>
                  <a:lnTo>
                    <a:pt x="147193" y="99212"/>
                  </a:lnTo>
                  <a:lnTo>
                    <a:pt x="147967" y="100342"/>
                  </a:lnTo>
                  <a:lnTo>
                    <a:pt x="149694" y="102463"/>
                  </a:lnTo>
                  <a:lnTo>
                    <a:pt x="182753" y="137528"/>
                  </a:lnTo>
                  <a:lnTo>
                    <a:pt x="185597" y="140906"/>
                  </a:lnTo>
                  <a:lnTo>
                    <a:pt x="189026" y="143548"/>
                  </a:lnTo>
                  <a:lnTo>
                    <a:pt x="197015" y="147358"/>
                  </a:lnTo>
                  <a:lnTo>
                    <a:pt x="201218" y="148348"/>
                  </a:lnTo>
                  <a:lnTo>
                    <a:pt x="210058" y="148501"/>
                  </a:lnTo>
                  <a:lnTo>
                    <a:pt x="214299" y="147650"/>
                  </a:lnTo>
                  <a:lnTo>
                    <a:pt x="222415" y="144132"/>
                  </a:lnTo>
                  <a:lnTo>
                    <a:pt x="225920" y="141617"/>
                  </a:lnTo>
                  <a:lnTo>
                    <a:pt x="228892" y="138328"/>
                  </a:lnTo>
                  <a:lnTo>
                    <a:pt x="236347" y="130962"/>
                  </a:lnTo>
                  <a:lnTo>
                    <a:pt x="238391" y="129540"/>
                  </a:lnTo>
                  <a:lnTo>
                    <a:pt x="239547" y="127596"/>
                  </a:lnTo>
                  <a:lnTo>
                    <a:pt x="240118" y="122656"/>
                  </a:lnTo>
                  <a:close/>
                </a:path>
                <a:path w="414020" h="301625">
                  <a:moveTo>
                    <a:pt x="275450" y="76606"/>
                  </a:moveTo>
                  <a:lnTo>
                    <a:pt x="275031" y="74777"/>
                  </a:lnTo>
                  <a:lnTo>
                    <a:pt x="272884" y="71437"/>
                  </a:lnTo>
                  <a:lnTo>
                    <a:pt x="271399" y="70294"/>
                  </a:lnTo>
                  <a:lnTo>
                    <a:pt x="267627" y="69075"/>
                  </a:lnTo>
                  <a:lnTo>
                    <a:pt x="265747" y="69138"/>
                  </a:lnTo>
                  <a:lnTo>
                    <a:pt x="262051" y="70599"/>
                  </a:lnTo>
                  <a:lnTo>
                    <a:pt x="260654" y="71831"/>
                  </a:lnTo>
                  <a:lnTo>
                    <a:pt x="259689" y="73571"/>
                  </a:lnTo>
                  <a:lnTo>
                    <a:pt x="255752" y="78651"/>
                  </a:lnTo>
                  <a:lnTo>
                    <a:pt x="234797" y="106730"/>
                  </a:lnTo>
                  <a:lnTo>
                    <a:pt x="248018" y="116738"/>
                  </a:lnTo>
                  <a:lnTo>
                    <a:pt x="258038" y="103924"/>
                  </a:lnTo>
                  <a:lnTo>
                    <a:pt x="258991" y="104419"/>
                  </a:lnTo>
                  <a:lnTo>
                    <a:pt x="258991" y="301358"/>
                  </a:lnTo>
                  <a:lnTo>
                    <a:pt x="275221" y="301409"/>
                  </a:lnTo>
                  <a:lnTo>
                    <a:pt x="275221" y="78574"/>
                  </a:lnTo>
                  <a:lnTo>
                    <a:pt x="275450" y="76606"/>
                  </a:lnTo>
                  <a:close/>
                </a:path>
                <a:path w="414020" h="301625">
                  <a:moveTo>
                    <a:pt x="327304" y="164325"/>
                  </a:moveTo>
                  <a:lnTo>
                    <a:pt x="310781" y="164325"/>
                  </a:lnTo>
                  <a:lnTo>
                    <a:pt x="310781" y="301358"/>
                  </a:lnTo>
                  <a:lnTo>
                    <a:pt x="327304" y="301358"/>
                  </a:lnTo>
                  <a:lnTo>
                    <a:pt x="327304" y="164325"/>
                  </a:lnTo>
                  <a:close/>
                </a:path>
                <a:path w="414020" h="301625">
                  <a:moveTo>
                    <a:pt x="413410" y="55333"/>
                  </a:moveTo>
                  <a:lnTo>
                    <a:pt x="413042" y="54546"/>
                  </a:lnTo>
                  <a:lnTo>
                    <a:pt x="412559" y="52882"/>
                  </a:lnTo>
                  <a:lnTo>
                    <a:pt x="411581" y="45593"/>
                  </a:lnTo>
                  <a:lnTo>
                    <a:pt x="409359" y="38696"/>
                  </a:lnTo>
                  <a:lnTo>
                    <a:pt x="380682" y="6591"/>
                  </a:lnTo>
                  <a:lnTo>
                    <a:pt x="290372" y="0"/>
                  </a:lnTo>
                  <a:lnTo>
                    <a:pt x="286524" y="381"/>
                  </a:lnTo>
                  <a:lnTo>
                    <a:pt x="248246" y="20281"/>
                  </a:lnTo>
                  <a:lnTo>
                    <a:pt x="218211" y="63055"/>
                  </a:lnTo>
                  <a:lnTo>
                    <a:pt x="218211" y="63944"/>
                  </a:lnTo>
                  <a:lnTo>
                    <a:pt x="231241" y="72872"/>
                  </a:lnTo>
                  <a:lnTo>
                    <a:pt x="232841" y="70815"/>
                  </a:lnTo>
                  <a:lnTo>
                    <a:pt x="244563" y="52743"/>
                  </a:lnTo>
                  <a:lnTo>
                    <a:pt x="252869" y="40944"/>
                  </a:lnTo>
                  <a:lnTo>
                    <a:pt x="284556" y="17564"/>
                  </a:lnTo>
                  <a:lnTo>
                    <a:pt x="293090" y="16713"/>
                  </a:lnTo>
                  <a:lnTo>
                    <a:pt x="359181" y="16751"/>
                  </a:lnTo>
                  <a:lnTo>
                    <a:pt x="391617" y="39230"/>
                  </a:lnTo>
                  <a:lnTo>
                    <a:pt x="396748" y="55918"/>
                  </a:lnTo>
                  <a:lnTo>
                    <a:pt x="396532" y="61798"/>
                  </a:lnTo>
                  <a:lnTo>
                    <a:pt x="396201" y="78117"/>
                  </a:lnTo>
                  <a:lnTo>
                    <a:pt x="396100" y="94399"/>
                  </a:lnTo>
                  <a:lnTo>
                    <a:pt x="396201" y="110667"/>
                  </a:lnTo>
                  <a:lnTo>
                    <a:pt x="396532" y="126911"/>
                  </a:lnTo>
                  <a:lnTo>
                    <a:pt x="396252" y="133248"/>
                  </a:lnTo>
                  <a:lnTo>
                    <a:pt x="370382" y="155003"/>
                  </a:lnTo>
                  <a:lnTo>
                    <a:pt x="370078" y="153162"/>
                  </a:lnTo>
                  <a:lnTo>
                    <a:pt x="370027" y="71564"/>
                  </a:lnTo>
                  <a:lnTo>
                    <a:pt x="369176" y="69507"/>
                  </a:lnTo>
                  <a:lnTo>
                    <a:pt x="353555" y="69507"/>
                  </a:lnTo>
                  <a:lnTo>
                    <a:pt x="353555" y="301358"/>
                  </a:lnTo>
                  <a:lnTo>
                    <a:pt x="369976" y="300863"/>
                  </a:lnTo>
                  <a:lnTo>
                    <a:pt x="369976" y="171742"/>
                  </a:lnTo>
                  <a:lnTo>
                    <a:pt x="376643" y="170929"/>
                  </a:lnTo>
                  <a:lnTo>
                    <a:pt x="410362" y="142290"/>
                  </a:lnTo>
                  <a:lnTo>
                    <a:pt x="412826" y="133019"/>
                  </a:lnTo>
                  <a:lnTo>
                    <a:pt x="413410" y="131914"/>
                  </a:lnTo>
                  <a:lnTo>
                    <a:pt x="413410" y="55333"/>
                  </a:lnTo>
                  <a:close/>
                </a:path>
              </a:pathLst>
            </a:custGeom>
            <a:solidFill>
              <a:srgbClr val="F72E40"/>
            </a:solidFill>
          </p:spPr>
          <p:txBody>
            <a:bodyPr wrap="square" lIns="0" tIns="0" rIns="0" bIns="0" rtlCol="0"/>
            <a:lstStyle/>
            <a:p>
              <a:endParaRPr sz="2118"/>
            </a:p>
          </p:txBody>
        </p:sp>
        <p:pic>
          <p:nvPicPr>
            <p:cNvPr id="62" name="object 62"/>
            <p:cNvPicPr/>
            <p:nvPr/>
          </p:nvPicPr>
          <p:blipFill>
            <a:blip r:embed="rId36" cstate="print"/>
            <a:stretch>
              <a:fillRect/>
            </a:stretch>
          </p:blipFill>
          <p:spPr>
            <a:xfrm>
              <a:off x="3189514" y="2130231"/>
              <a:ext cx="85894" cy="103031"/>
            </a:xfrm>
            <a:prstGeom prst="rect">
              <a:avLst/>
            </a:prstGeom>
          </p:spPr>
        </p:pic>
        <p:pic>
          <p:nvPicPr>
            <p:cNvPr id="63" name="object 63"/>
            <p:cNvPicPr/>
            <p:nvPr/>
          </p:nvPicPr>
          <p:blipFill>
            <a:blip r:embed="rId37" cstate="print"/>
            <a:stretch>
              <a:fillRect/>
            </a:stretch>
          </p:blipFill>
          <p:spPr>
            <a:xfrm>
              <a:off x="3412346" y="2131136"/>
              <a:ext cx="86796" cy="102227"/>
            </a:xfrm>
            <a:prstGeom prst="rect">
              <a:avLst/>
            </a:prstGeom>
          </p:spPr>
        </p:pic>
        <p:sp>
          <p:nvSpPr>
            <p:cNvPr id="64" name="object 64"/>
            <p:cNvSpPr/>
            <p:nvPr/>
          </p:nvSpPr>
          <p:spPr>
            <a:xfrm>
              <a:off x="3131820" y="2747924"/>
              <a:ext cx="414020" cy="301625"/>
            </a:xfrm>
            <a:custGeom>
              <a:avLst/>
              <a:gdLst/>
              <a:ahLst/>
              <a:cxnLst/>
              <a:rect l="l" t="t" r="r" b="b"/>
              <a:pathLst>
                <a:path w="414020" h="301625">
                  <a:moveTo>
                    <a:pt x="103466" y="164325"/>
                  </a:moveTo>
                  <a:lnTo>
                    <a:pt x="87033" y="164325"/>
                  </a:lnTo>
                  <a:lnTo>
                    <a:pt x="87033" y="301358"/>
                  </a:lnTo>
                  <a:lnTo>
                    <a:pt x="103466" y="301358"/>
                  </a:lnTo>
                  <a:lnTo>
                    <a:pt x="103466" y="164325"/>
                  </a:lnTo>
                  <a:close/>
                </a:path>
                <a:path w="414020" h="301625">
                  <a:moveTo>
                    <a:pt x="240106" y="122643"/>
                  </a:moveTo>
                  <a:lnTo>
                    <a:pt x="239420" y="120484"/>
                  </a:lnTo>
                  <a:lnTo>
                    <a:pt x="237744" y="118643"/>
                  </a:lnTo>
                  <a:lnTo>
                    <a:pt x="212140" y="80454"/>
                  </a:lnTo>
                  <a:lnTo>
                    <a:pt x="186207" y="42557"/>
                  </a:lnTo>
                  <a:lnTo>
                    <a:pt x="155676" y="11455"/>
                  </a:lnTo>
                  <a:lnTo>
                    <a:pt x="116332" y="444"/>
                  </a:lnTo>
                  <a:lnTo>
                    <a:pt x="102463" y="546"/>
                  </a:lnTo>
                  <a:lnTo>
                    <a:pt x="57073" y="444"/>
                  </a:lnTo>
                  <a:lnTo>
                    <a:pt x="53352" y="825"/>
                  </a:lnTo>
                  <a:lnTo>
                    <a:pt x="49669" y="1587"/>
                  </a:lnTo>
                  <a:lnTo>
                    <a:pt x="42583" y="2895"/>
                  </a:lnTo>
                  <a:lnTo>
                    <a:pt x="9131" y="28549"/>
                  </a:lnTo>
                  <a:lnTo>
                    <a:pt x="0" y="55397"/>
                  </a:lnTo>
                  <a:lnTo>
                    <a:pt x="177" y="62598"/>
                  </a:lnTo>
                  <a:lnTo>
                    <a:pt x="330" y="110451"/>
                  </a:lnTo>
                  <a:lnTo>
                    <a:pt x="177" y="126403"/>
                  </a:lnTo>
                  <a:lnTo>
                    <a:pt x="228" y="131152"/>
                  </a:lnTo>
                  <a:lnTo>
                    <a:pt x="977" y="135775"/>
                  </a:lnTo>
                  <a:lnTo>
                    <a:pt x="26517" y="167995"/>
                  </a:lnTo>
                  <a:lnTo>
                    <a:pt x="32258" y="169875"/>
                  </a:lnTo>
                  <a:lnTo>
                    <a:pt x="33248" y="170573"/>
                  </a:lnTo>
                  <a:lnTo>
                    <a:pt x="34709" y="172720"/>
                  </a:lnTo>
                  <a:lnTo>
                    <a:pt x="34988" y="173901"/>
                  </a:lnTo>
                  <a:lnTo>
                    <a:pt x="34798" y="175196"/>
                  </a:lnTo>
                  <a:lnTo>
                    <a:pt x="34798" y="301256"/>
                  </a:lnTo>
                  <a:lnTo>
                    <a:pt x="51269" y="301256"/>
                  </a:lnTo>
                  <a:lnTo>
                    <a:pt x="51523" y="299758"/>
                  </a:lnTo>
                  <a:lnTo>
                    <a:pt x="51523" y="74917"/>
                  </a:lnTo>
                  <a:lnTo>
                    <a:pt x="51701" y="73799"/>
                  </a:lnTo>
                  <a:lnTo>
                    <a:pt x="51701" y="72682"/>
                  </a:lnTo>
                  <a:lnTo>
                    <a:pt x="51523" y="71564"/>
                  </a:lnTo>
                  <a:lnTo>
                    <a:pt x="51269" y="70713"/>
                  </a:lnTo>
                  <a:lnTo>
                    <a:pt x="50317" y="69507"/>
                  </a:lnTo>
                  <a:lnTo>
                    <a:pt x="34988" y="69507"/>
                  </a:lnTo>
                  <a:lnTo>
                    <a:pt x="34988" y="152552"/>
                  </a:lnTo>
                  <a:lnTo>
                    <a:pt x="30086" y="150774"/>
                  </a:lnTo>
                  <a:lnTo>
                    <a:pt x="26035" y="147802"/>
                  </a:lnTo>
                  <a:lnTo>
                    <a:pt x="19697" y="139496"/>
                  </a:lnTo>
                  <a:lnTo>
                    <a:pt x="17894" y="134823"/>
                  </a:lnTo>
                  <a:lnTo>
                    <a:pt x="17462" y="129616"/>
                  </a:lnTo>
                  <a:lnTo>
                    <a:pt x="17487" y="55753"/>
                  </a:lnTo>
                  <a:lnTo>
                    <a:pt x="41389" y="21437"/>
                  </a:lnTo>
                  <a:lnTo>
                    <a:pt x="56045" y="17106"/>
                  </a:lnTo>
                  <a:lnTo>
                    <a:pt x="124269" y="17145"/>
                  </a:lnTo>
                  <a:lnTo>
                    <a:pt x="164020" y="40309"/>
                  </a:lnTo>
                  <a:lnTo>
                    <a:pt x="191579" y="78143"/>
                  </a:lnTo>
                  <a:lnTo>
                    <a:pt x="220472" y="121348"/>
                  </a:lnTo>
                  <a:lnTo>
                    <a:pt x="220624" y="122516"/>
                  </a:lnTo>
                  <a:lnTo>
                    <a:pt x="220218" y="123748"/>
                  </a:lnTo>
                  <a:lnTo>
                    <a:pt x="182943" y="112509"/>
                  </a:lnTo>
                  <a:lnTo>
                    <a:pt x="170611" y="99491"/>
                  </a:lnTo>
                  <a:lnTo>
                    <a:pt x="145834" y="73571"/>
                  </a:lnTo>
                  <a:lnTo>
                    <a:pt x="144081" y="71615"/>
                  </a:lnTo>
                  <a:lnTo>
                    <a:pt x="141947" y="70256"/>
                  </a:lnTo>
                  <a:lnTo>
                    <a:pt x="139420" y="69507"/>
                  </a:lnTo>
                  <a:lnTo>
                    <a:pt x="133667" y="68453"/>
                  </a:lnTo>
                  <a:lnTo>
                    <a:pt x="129806" y="72669"/>
                  </a:lnTo>
                  <a:lnTo>
                    <a:pt x="129806" y="301358"/>
                  </a:lnTo>
                  <a:lnTo>
                    <a:pt x="146189" y="301205"/>
                  </a:lnTo>
                  <a:lnTo>
                    <a:pt x="146088" y="300113"/>
                  </a:lnTo>
                  <a:lnTo>
                    <a:pt x="145834" y="299008"/>
                  </a:lnTo>
                  <a:lnTo>
                    <a:pt x="145834" y="101968"/>
                  </a:lnTo>
                  <a:lnTo>
                    <a:pt x="146088" y="100863"/>
                  </a:lnTo>
                  <a:lnTo>
                    <a:pt x="146088" y="99707"/>
                  </a:lnTo>
                  <a:lnTo>
                    <a:pt x="147193" y="99212"/>
                  </a:lnTo>
                  <a:lnTo>
                    <a:pt x="147967" y="100342"/>
                  </a:lnTo>
                  <a:lnTo>
                    <a:pt x="149694" y="102463"/>
                  </a:lnTo>
                  <a:lnTo>
                    <a:pt x="182753" y="137528"/>
                  </a:lnTo>
                  <a:lnTo>
                    <a:pt x="185597" y="140906"/>
                  </a:lnTo>
                  <a:lnTo>
                    <a:pt x="189014" y="143548"/>
                  </a:lnTo>
                  <a:lnTo>
                    <a:pt x="197002" y="147358"/>
                  </a:lnTo>
                  <a:lnTo>
                    <a:pt x="201206" y="148348"/>
                  </a:lnTo>
                  <a:lnTo>
                    <a:pt x="210058" y="148501"/>
                  </a:lnTo>
                  <a:lnTo>
                    <a:pt x="214299" y="147650"/>
                  </a:lnTo>
                  <a:lnTo>
                    <a:pt x="222402" y="144132"/>
                  </a:lnTo>
                  <a:lnTo>
                    <a:pt x="225920" y="141605"/>
                  </a:lnTo>
                  <a:lnTo>
                    <a:pt x="228879" y="138328"/>
                  </a:lnTo>
                  <a:lnTo>
                    <a:pt x="236347" y="130962"/>
                  </a:lnTo>
                  <a:lnTo>
                    <a:pt x="238379" y="129540"/>
                  </a:lnTo>
                  <a:lnTo>
                    <a:pt x="239547" y="127596"/>
                  </a:lnTo>
                  <a:lnTo>
                    <a:pt x="240106" y="122643"/>
                  </a:lnTo>
                  <a:close/>
                </a:path>
                <a:path w="414020" h="301625">
                  <a:moveTo>
                    <a:pt x="275437" y="76606"/>
                  </a:moveTo>
                  <a:lnTo>
                    <a:pt x="275018" y="74777"/>
                  </a:lnTo>
                  <a:lnTo>
                    <a:pt x="272872" y="71437"/>
                  </a:lnTo>
                  <a:lnTo>
                    <a:pt x="271399" y="70294"/>
                  </a:lnTo>
                  <a:lnTo>
                    <a:pt x="267614" y="69075"/>
                  </a:lnTo>
                  <a:lnTo>
                    <a:pt x="265747" y="69138"/>
                  </a:lnTo>
                  <a:lnTo>
                    <a:pt x="262051" y="70599"/>
                  </a:lnTo>
                  <a:lnTo>
                    <a:pt x="260642" y="71831"/>
                  </a:lnTo>
                  <a:lnTo>
                    <a:pt x="259689" y="73571"/>
                  </a:lnTo>
                  <a:lnTo>
                    <a:pt x="255752" y="78651"/>
                  </a:lnTo>
                  <a:lnTo>
                    <a:pt x="234784" y="106718"/>
                  </a:lnTo>
                  <a:lnTo>
                    <a:pt x="248018" y="116738"/>
                  </a:lnTo>
                  <a:lnTo>
                    <a:pt x="258025" y="103924"/>
                  </a:lnTo>
                  <a:lnTo>
                    <a:pt x="258978" y="104419"/>
                  </a:lnTo>
                  <a:lnTo>
                    <a:pt x="258978" y="301358"/>
                  </a:lnTo>
                  <a:lnTo>
                    <a:pt x="275209" y="301409"/>
                  </a:lnTo>
                  <a:lnTo>
                    <a:pt x="275209" y="78574"/>
                  </a:lnTo>
                  <a:lnTo>
                    <a:pt x="275437" y="76606"/>
                  </a:lnTo>
                  <a:close/>
                </a:path>
                <a:path w="414020" h="301625">
                  <a:moveTo>
                    <a:pt x="327304" y="164325"/>
                  </a:moveTo>
                  <a:lnTo>
                    <a:pt x="310769" y="164325"/>
                  </a:lnTo>
                  <a:lnTo>
                    <a:pt x="310769" y="301358"/>
                  </a:lnTo>
                  <a:lnTo>
                    <a:pt x="327304" y="301358"/>
                  </a:lnTo>
                  <a:lnTo>
                    <a:pt x="327304" y="164325"/>
                  </a:lnTo>
                  <a:close/>
                </a:path>
                <a:path w="414020" h="301625">
                  <a:moveTo>
                    <a:pt x="413397" y="55333"/>
                  </a:moveTo>
                  <a:lnTo>
                    <a:pt x="413042" y="54546"/>
                  </a:lnTo>
                  <a:lnTo>
                    <a:pt x="412546" y="52882"/>
                  </a:lnTo>
                  <a:lnTo>
                    <a:pt x="411581" y="45593"/>
                  </a:lnTo>
                  <a:lnTo>
                    <a:pt x="409359" y="38696"/>
                  </a:lnTo>
                  <a:lnTo>
                    <a:pt x="380669" y="6578"/>
                  </a:lnTo>
                  <a:lnTo>
                    <a:pt x="290360" y="0"/>
                  </a:lnTo>
                  <a:lnTo>
                    <a:pt x="286524" y="381"/>
                  </a:lnTo>
                  <a:lnTo>
                    <a:pt x="248246" y="20281"/>
                  </a:lnTo>
                  <a:lnTo>
                    <a:pt x="218211" y="63042"/>
                  </a:lnTo>
                  <a:lnTo>
                    <a:pt x="218211" y="63944"/>
                  </a:lnTo>
                  <a:lnTo>
                    <a:pt x="231228" y="72859"/>
                  </a:lnTo>
                  <a:lnTo>
                    <a:pt x="232841" y="70815"/>
                  </a:lnTo>
                  <a:lnTo>
                    <a:pt x="244563" y="52743"/>
                  </a:lnTo>
                  <a:lnTo>
                    <a:pt x="252857" y="40944"/>
                  </a:lnTo>
                  <a:lnTo>
                    <a:pt x="284556" y="17564"/>
                  </a:lnTo>
                  <a:lnTo>
                    <a:pt x="293090" y="16713"/>
                  </a:lnTo>
                  <a:lnTo>
                    <a:pt x="359181" y="16751"/>
                  </a:lnTo>
                  <a:lnTo>
                    <a:pt x="391617" y="39230"/>
                  </a:lnTo>
                  <a:lnTo>
                    <a:pt x="396735" y="55918"/>
                  </a:lnTo>
                  <a:lnTo>
                    <a:pt x="396519" y="61798"/>
                  </a:lnTo>
                  <a:lnTo>
                    <a:pt x="396201" y="78105"/>
                  </a:lnTo>
                  <a:lnTo>
                    <a:pt x="396100" y="94399"/>
                  </a:lnTo>
                  <a:lnTo>
                    <a:pt x="396201" y="110667"/>
                  </a:lnTo>
                  <a:lnTo>
                    <a:pt x="396519" y="126911"/>
                  </a:lnTo>
                  <a:lnTo>
                    <a:pt x="396240" y="133248"/>
                  </a:lnTo>
                  <a:lnTo>
                    <a:pt x="370370" y="155003"/>
                  </a:lnTo>
                  <a:lnTo>
                    <a:pt x="370078" y="153149"/>
                  </a:lnTo>
                  <a:lnTo>
                    <a:pt x="370027" y="71564"/>
                  </a:lnTo>
                  <a:lnTo>
                    <a:pt x="369176" y="69507"/>
                  </a:lnTo>
                  <a:lnTo>
                    <a:pt x="353542" y="69507"/>
                  </a:lnTo>
                  <a:lnTo>
                    <a:pt x="353542" y="301358"/>
                  </a:lnTo>
                  <a:lnTo>
                    <a:pt x="369976" y="300863"/>
                  </a:lnTo>
                  <a:lnTo>
                    <a:pt x="369976" y="171742"/>
                  </a:lnTo>
                  <a:lnTo>
                    <a:pt x="376643" y="170929"/>
                  </a:lnTo>
                  <a:lnTo>
                    <a:pt x="410362" y="142290"/>
                  </a:lnTo>
                  <a:lnTo>
                    <a:pt x="412826" y="133019"/>
                  </a:lnTo>
                  <a:lnTo>
                    <a:pt x="413397" y="131914"/>
                  </a:lnTo>
                  <a:lnTo>
                    <a:pt x="413397" y="55333"/>
                  </a:lnTo>
                  <a:close/>
                </a:path>
              </a:pathLst>
            </a:custGeom>
            <a:solidFill>
              <a:srgbClr val="F72E40"/>
            </a:solidFill>
          </p:spPr>
          <p:txBody>
            <a:bodyPr wrap="square" lIns="0" tIns="0" rIns="0" bIns="0" rtlCol="0"/>
            <a:lstStyle/>
            <a:p>
              <a:endParaRPr sz="2118"/>
            </a:p>
          </p:txBody>
        </p:sp>
        <p:pic>
          <p:nvPicPr>
            <p:cNvPr id="65" name="object 65"/>
            <p:cNvPicPr/>
            <p:nvPr/>
          </p:nvPicPr>
          <p:blipFill>
            <a:blip r:embed="rId36" cstate="print"/>
            <a:stretch>
              <a:fillRect/>
            </a:stretch>
          </p:blipFill>
          <p:spPr>
            <a:xfrm>
              <a:off x="3184505" y="2636109"/>
              <a:ext cx="85894" cy="103032"/>
            </a:xfrm>
            <a:prstGeom prst="rect">
              <a:avLst/>
            </a:prstGeom>
          </p:spPr>
        </p:pic>
        <p:pic>
          <p:nvPicPr>
            <p:cNvPr id="66" name="object 66"/>
            <p:cNvPicPr/>
            <p:nvPr/>
          </p:nvPicPr>
          <p:blipFill>
            <a:blip r:embed="rId35" cstate="print"/>
            <a:stretch>
              <a:fillRect/>
            </a:stretch>
          </p:blipFill>
          <p:spPr>
            <a:xfrm>
              <a:off x="3407337" y="2637014"/>
              <a:ext cx="86796" cy="102227"/>
            </a:xfrm>
            <a:prstGeom prst="rect">
              <a:avLst/>
            </a:prstGeom>
          </p:spPr>
        </p:pic>
        <p:sp>
          <p:nvSpPr>
            <p:cNvPr id="67" name="object 67"/>
            <p:cNvSpPr/>
            <p:nvPr/>
          </p:nvSpPr>
          <p:spPr>
            <a:xfrm>
              <a:off x="3121799" y="3258807"/>
              <a:ext cx="414020" cy="301625"/>
            </a:xfrm>
            <a:custGeom>
              <a:avLst/>
              <a:gdLst/>
              <a:ahLst/>
              <a:cxnLst/>
              <a:rect l="l" t="t" r="r" b="b"/>
              <a:pathLst>
                <a:path w="414020" h="301625">
                  <a:moveTo>
                    <a:pt x="103466" y="164325"/>
                  </a:moveTo>
                  <a:lnTo>
                    <a:pt x="87033" y="164325"/>
                  </a:lnTo>
                  <a:lnTo>
                    <a:pt x="87033" y="301358"/>
                  </a:lnTo>
                  <a:lnTo>
                    <a:pt x="103466" y="301358"/>
                  </a:lnTo>
                  <a:lnTo>
                    <a:pt x="103466" y="164325"/>
                  </a:lnTo>
                  <a:close/>
                </a:path>
                <a:path w="414020" h="301625">
                  <a:moveTo>
                    <a:pt x="240106" y="122656"/>
                  </a:moveTo>
                  <a:lnTo>
                    <a:pt x="239420" y="120497"/>
                  </a:lnTo>
                  <a:lnTo>
                    <a:pt x="237744" y="118643"/>
                  </a:lnTo>
                  <a:lnTo>
                    <a:pt x="212153" y="80454"/>
                  </a:lnTo>
                  <a:lnTo>
                    <a:pt x="186207" y="42570"/>
                  </a:lnTo>
                  <a:lnTo>
                    <a:pt x="155676" y="11455"/>
                  </a:lnTo>
                  <a:lnTo>
                    <a:pt x="116344" y="444"/>
                  </a:lnTo>
                  <a:lnTo>
                    <a:pt x="102463" y="546"/>
                  </a:lnTo>
                  <a:lnTo>
                    <a:pt x="57073" y="444"/>
                  </a:lnTo>
                  <a:lnTo>
                    <a:pt x="53352" y="838"/>
                  </a:lnTo>
                  <a:lnTo>
                    <a:pt x="49669" y="1600"/>
                  </a:lnTo>
                  <a:lnTo>
                    <a:pt x="42595" y="2895"/>
                  </a:lnTo>
                  <a:lnTo>
                    <a:pt x="9131" y="28562"/>
                  </a:lnTo>
                  <a:lnTo>
                    <a:pt x="0" y="55397"/>
                  </a:lnTo>
                  <a:lnTo>
                    <a:pt x="190" y="62598"/>
                  </a:lnTo>
                  <a:lnTo>
                    <a:pt x="330" y="110451"/>
                  </a:lnTo>
                  <a:lnTo>
                    <a:pt x="190" y="126415"/>
                  </a:lnTo>
                  <a:lnTo>
                    <a:pt x="228" y="131152"/>
                  </a:lnTo>
                  <a:lnTo>
                    <a:pt x="977" y="135788"/>
                  </a:lnTo>
                  <a:lnTo>
                    <a:pt x="26517" y="168008"/>
                  </a:lnTo>
                  <a:lnTo>
                    <a:pt x="32258" y="169887"/>
                  </a:lnTo>
                  <a:lnTo>
                    <a:pt x="33261" y="170573"/>
                  </a:lnTo>
                  <a:lnTo>
                    <a:pt x="34721" y="172720"/>
                  </a:lnTo>
                  <a:lnTo>
                    <a:pt x="34988" y="173913"/>
                  </a:lnTo>
                  <a:lnTo>
                    <a:pt x="34798" y="175196"/>
                  </a:lnTo>
                  <a:lnTo>
                    <a:pt x="34798" y="301269"/>
                  </a:lnTo>
                  <a:lnTo>
                    <a:pt x="51269" y="301269"/>
                  </a:lnTo>
                  <a:lnTo>
                    <a:pt x="51523" y="299758"/>
                  </a:lnTo>
                  <a:lnTo>
                    <a:pt x="51523" y="74917"/>
                  </a:lnTo>
                  <a:lnTo>
                    <a:pt x="51701" y="73799"/>
                  </a:lnTo>
                  <a:lnTo>
                    <a:pt x="51701" y="72682"/>
                  </a:lnTo>
                  <a:lnTo>
                    <a:pt x="51523" y="71564"/>
                  </a:lnTo>
                  <a:lnTo>
                    <a:pt x="51269" y="70713"/>
                  </a:lnTo>
                  <a:lnTo>
                    <a:pt x="50330" y="69507"/>
                  </a:lnTo>
                  <a:lnTo>
                    <a:pt x="35001" y="69507"/>
                  </a:lnTo>
                  <a:lnTo>
                    <a:pt x="35001" y="152552"/>
                  </a:lnTo>
                  <a:lnTo>
                    <a:pt x="30086" y="150774"/>
                  </a:lnTo>
                  <a:lnTo>
                    <a:pt x="26047" y="147802"/>
                  </a:lnTo>
                  <a:lnTo>
                    <a:pt x="19697" y="139509"/>
                  </a:lnTo>
                  <a:lnTo>
                    <a:pt x="17894" y="134823"/>
                  </a:lnTo>
                  <a:lnTo>
                    <a:pt x="17462" y="129616"/>
                  </a:lnTo>
                  <a:lnTo>
                    <a:pt x="17487" y="55753"/>
                  </a:lnTo>
                  <a:lnTo>
                    <a:pt x="41389" y="21437"/>
                  </a:lnTo>
                  <a:lnTo>
                    <a:pt x="56057" y="17106"/>
                  </a:lnTo>
                  <a:lnTo>
                    <a:pt x="124282" y="17145"/>
                  </a:lnTo>
                  <a:lnTo>
                    <a:pt x="164020" y="40309"/>
                  </a:lnTo>
                  <a:lnTo>
                    <a:pt x="191579" y="78143"/>
                  </a:lnTo>
                  <a:lnTo>
                    <a:pt x="220472" y="121348"/>
                  </a:lnTo>
                  <a:lnTo>
                    <a:pt x="220624" y="122516"/>
                  </a:lnTo>
                  <a:lnTo>
                    <a:pt x="220218" y="123761"/>
                  </a:lnTo>
                  <a:lnTo>
                    <a:pt x="182943" y="112509"/>
                  </a:lnTo>
                  <a:lnTo>
                    <a:pt x="170624" y="99491"/>
                  </a:lnTo>
                  <a:lnTo>
                    <a:pt x="145834" y="73571"/>
                  </a:lnTo>
                  <a:lnTo>
                    <a:pt x="144081" y="71615"/>
                  </a:lnTo>
                  <a:lnTo>
                    <a:pt x="141947" y="70269"/>
                  </a:lnTo>
                  <a:lnTo>
                    <a:pt x="139433" y="69507"/>
                  </a:lnTo>
                  <a:lnTo>
                    <a:pt x="133667" y="68465"/>
                  </a:lnTo>
                  <a:lnTo>
                    <a:pt x="129806" y="72669"/>
                  </a:lnTo>
                  <a:lnTo>
                    <a:pt x="129806" y="301358"/>
                  </a:lnTo>
                  <a:lnTo>
                    <a:pt x="146189" y="301218"/>
                  </a:lnTo>
                  <a:lnTo>
                    <a:pt x="146088" y="300113"/>
                  </a:lnTo>
                  <a:lnTo>
                    <a:pt x="145834" y="299008"/>
                  </a:lnTo>
                  <a:lnTo>
                    <a:pt x="145834" y="101968"/>
                  </a:lnTo>
                  <a:lnTo>
                    <a:pt x="146088" y="100863"/>
                  </a:lnTo>
                  <a:lnTo>
                    <a:pt x="146088" y="99720"/>
                  </a:lnTo>
                  <a:lnTo>
                    <a:pt x="147193" y="99212"/>
                  </a:lnTo>
                  <a:lnTo>
                    <a:pt x="147967" y="100342"/>
                  </a:lnTo>
                  <a:lnTo>
                    <a:pt x="149694" y="102463"/>
                  </a:lnTo>
                  <a:lnTo>
                    <a:pt x="182753" y="137528"/>
                  </a:lnTo>
                  <a:lnTo>
                    <a:pt x="185597" y="140919"/>
                  </a:lnTo>
                  <a:lnTo>
                    <a:pt x="189026" y="143560"/>
                  </a:lnTo>
                  <a:lnTo>
                    <a:pt x="197002" y="147358"/>
                  </a:lnTo>
                  <a:lnTo>
                    <a:pt x="201218" y="148348"/>
                  </a:lnTo>
                  <a:lnTo>
                    <a:pt x="210058" y="148501"/>
                  </a:lnTo>
                  <a:lnTo>
                    <a:pt x="214299" y="147662"/>
                  </a:lnTo>
                  <a:lnTo>
                    <a:pt x="222415" y="144132"/>
                  </a:lnTo>
                  <a:lnTo>
                    <a:pt x="225920" y="141617"/>
                  </a:lnTo>
                  <a:lnTo>
                    <a:pt x="228879" y="138328"/>
                  </a:lnTo>
                  <a:lnTo>
                    <a:pt x="236347" y="130975"/>
                  </a:lnTo>
                  <a:lnTo>
                    <a:pt x="238391" y="129540"/>
                  </a:lnTo>
                  <a:lnTo>
                    <a:pt x="239547" y="127596"/>
                  </a:lnTo>
                  <a:lnTo>
                    <a:pt x="240106" y="122656"/>
                  </a:lnTo>
                  <a:close/>
                </a:path>
                <a:path w="414020" h="301625">
                  <a:moveTo>
                    <a:pt x="275450" y="76606"/>
                  </a:moveTo>
                  <a:lnTo>
                    <a:pt x="275031" y="74777"/>
                  </a:lnTo>
                  <a:lnTo>
                    <a:pt x="272884" y="71437"/>
                  </a:lnTo>
                  <a:lnTo>
                    <a:pt x="271399" y="70307"/>
                  </a:lnTo>
                  <a:lnTo>
                    <a:pt x="267614" y="69088"/>
                  </a:lnTo>
                  <a:lnTo>
                    <a:pt x="265747" y="69138"/>
                  </a:lnTo>
                  <a:lnTo>
                    <a:pt x="262051" y="70599"/>
                  </a:lnTo>
                  <a:lnTo>
                    <a:pt x="260654" y="71831"/>
                  </a:lnTo>
                  <a:lnTo>
                    <a:pt x="259689" y="73571"/>
                  </a:lnTo>
                  <a:lnTo>
                    <a:pt x="255752" y="78651"/>
                  </a:lnTo>
                  <a:lnTo>
                    <a:pt x="234797" y="106730"/>
                  </a:lnTo>
                  <a:lnTo>
                    <a:pt x="248018" y="116738"/>
                  </a:lnTo>
                  <a:lnTo>
                    <a:pt x="258038" y="103924"/>
                  </a:lnTo>
                  <a:lnTo>
                    <a:pt x="258991" y="104419"/>
                  </a:lnTo>
                  <a:lnTo>
                    <a:pt x="258991" y="301358"/>
                  </a:lnTo>
                  <a:lnTo>
                    <a:pt x="275209" y="301409"/>
                  </a:lnTo>
                  <a:lnTo>
                    <a:pt x="275209" y="78574"/>
                  </a:lnTo>
                  <a:lnTo>
                    <a:pt x="275450" y="76606"/>
                  </a:lnTo>
                  <a:close/>
                </a:path>
                <a:path w="414020" h="301625">
                  <a:moveTo>
                    <a:pt x="327304" y="164325"/>
                  </a:moveTo>
                  <a:lnTo>
                    <a:pt x="310781" y="164325"/>
                  </a:lnTo>
                  <a:lnTo>
                    <a:pt x="310781" y="301358"/>
                  </a:lnTo>
                  <a:lnTo>
                    <a:pt x="327304" y="301358"/>
                  </a:lnTo>
                  <a:lnTo>
                    <a:pt x="327304" y="164325"/>
                  </a:lnTo>
                  <a:close/>
                </a:path>
                <a:path w="414020" h="301625">
                  <a:moveTo>
                    <a:pt x="413397" y="55333"/>
                  </a:moveTo>
                  <a:lnTo>
                    <a:pt x="413042" y="54546"/>
                  </a:lnTo>
                  <a:lnTo>
                    <a:pt x="412546" y="52882"/>
                  </a:lnTo>
                  <a:lnTo>
                    <a:pt x="411581" y="45593"/>
                  </a:lnTo>
                  <a:lnTo>
                    <a:pt x="409359" y="38696"/>
                  </a:lnTo>
                  <a:lnTo>
                    <a:pt x="380682" y="6591"/>
                  </a:lnTo>
                  <a:lnTo>
                    <a:pt x="290372" y="0"/>
                  </a:lnTo>
                  <a:lnTo>
                    <a:pt x="286524" y="381"/>
                  </a:lnTo>
                  <a:lnTo>
                    <a:pt x="248246" y="20281"/>
                  </a:lnTo>
                  <a:lnTo>
                    <a:pt x="218211" y="63055"/>
                  </a:lnTo>
                  <a:lnTo>
                    <a:pt x="218211" y="63957"/>
                  </a:lnTo>
                  <a:lnTo>
                    <a:pt x="231241" y="72872"/>
                  </a:lnTo>
                  <a:lnTo>
                    <a:pt x="232841" y="70815"/>
                  </a:lnTo>
                  <a:lnTo>
                    <a:pt x="244563" y="52743"/>
                  </a:lnTo>
                  <a:lnTo>
                    <a:pt x="252857" y="40944"/>
                  </a:lnTo>
                  <a:lnTo>
                    <a:pt x="284556" y="17564"/>
                  </a:lnTo>
                  <a:lnTo>
                    <a:pt x="293090" y="16725"/>
                  </a:lnTo>
                  <a:lnTo>
                    <a:pt x="359181" y="16751"/>
                  </a:lnTo>
                  <a:lnTo>
                    <a:pt x="391617" y="39230"/>
                  </a:lnTo>
                  <a:lnTo>
                    <a:pt x="396735" y="55918"/>
                  </a:lnTo>
                  <a:lnTo>
                    <a:pt x="396519" y="61798"/>
                  </a:lnTo>
                  <a:lnTo>
                    <a:pt x="396201" y="78117"/>
                  </a:lnTo>
                  <a:lnTo>
                    <a:pt x="396100" y="94399"/>
                  </a:lnTo>
                  <a:lnTo>
                    <a:pt x="396201" y="110667"/>
                  </a:lnTo>
                  <a:lnTo>
                    <a:pt x="396519" y="126911"/>
                  </a:lnTo>
                  <a:lnTo>
                    <a:pt x="396252" y="133248"/>
                  </a:lnTo>
                  <a:lnTo>
                    <a:pt x="370382" y="155016"/>
                  </a:lnTo>
                  <a:lnTo>
                    <a:pt x="370078" y="153162"/>
                  </a:lnTo>
                  <a:lnTo>
                    <a:pt x="370027" y="71564"/>
                  </a:lnTo>
                  <a:lnTo>
                    <a:pt x="369176" y="69507"/>
                  </a:lnTo>
                  <a:lnTo>
                    <a:pt x="353555" y="69507"/>
                  </a:lnTo>
                  <a:lnTo>
                    <a:pt x="353555" y="301358"/>
                  </a:lnTo>
                  <a:lnTo>
                    <a:pt x="369976" y="300863"/>
                  </a:lnTo>
                  <a:lnTo>
                    <a:pt x="369976" y="171742"/>
                  </a:lnTo>
                  <a:lnTo>
                    <a:pt x="376643" y="170929"/>
                  </a:lnTo>
                  <a:lnTo>
                    <a:pt x="410362" y="142290"/>
                  </a:lnTo>
                  <a:lnTo>
                    <a:pt x="412826" y="133019"/>
                  </a:lnTo>
                  <a:lnTo>
                    <a:pt x="413397" y="131914"/>
                  </a:lnTo>
                  <a:lnTo>
                    <a:pt x="413397" y="55333"/>
                  </a:lnTo>
                  <a:close/>
                </a:path>
              </a:pathLst>
            </a:custGeom>
            <a:solidFill>
              <a:srgbClr val="F72E40"/>
            </a:solidFill>
          </p:spPr>
          <p:txBody>
            <a:bodyPr wrap="square" lIns="0" tIns="0" rIns="0" bIns="0" rtlCol="0"/>
            <a:lstStyle/>
            <a:p>
              <a:endParaRPr sz="2118"/>
            </a:p>
          </p:txBody>
        </p:sp>
        <p:pic>
          <p:nvPicPr>
            <p:cNvPr id="68" name="object 68"/>
            <p:cNvPicPr/>
            <p:nvPr/>
          </p:nvPicPr>
          <p:blipFill>
            <a:blip r:embed="rId12" cstate="print"/>
            <a:stretch>
              <a:fillRect/>
            </a:stretch>
          </p:blipFill>
          <p:spPr>
            <a:xfrm>
              <a:off x="3174488" y="3146995"/>
              <a:ext cx="85894" cy="103031"/>
            </a:xfrm>
            <a:prstGeom prst="rect">
              <a:avLst/>
            </a:prstGeom>
          </p:spPr>
        </p:pic>
        <p:pic>
          <p:nvPicPr>
            <p:cNvPr id="69" name="object 69"/>
            <p:cNvPicPr/>
            <p:nvPr/>
          </p:nvPicPr>
          <p:blipFill>
            <a:blip r:embed="rId38" cstate="print"/>
            <a:stretch>
              <a:fillRect/>
            </a:stretch>
          </p:blipFill>
          <p:spPr>
            <a:xfrm>
              <a:off x="3397320" y="3147900"/>
              <a:ext cx="86796" cy="102227"/>
            </a:xfrm>
            <a:prstGeom prst="rect">
              <a:avLst/>
            </a:prstGeom>
          </p:spPr>
        </p:pic>
        <p:sp>
          <p:nvSpPr>
            <p:cNvPr id="70" name="object 70"/>
            <p:cNvSpPr/>
            <p:nvPr/>
          </p:nvSpPr>
          <p:spPr>
            <a:xfrm>
              <a:off x="928547" y="3755123"/>
              <a:ext cx="413384" cy="300990"/>
            </a:xfrm>
            <a:custGeom>
              <a:avLst/>
              <a:gdLst/>
              <a:ahLst/>
              <a:cxnLst/>
              <a:rect l="l" t="t" r="r" b="b"/>
              <a:pathLst>
                <a:path w="413384" h="300989">
                  <a:moveTo>
                    <a:pt x="102857" y="163868"/>
                  </a:moveTo>
                  <a:lnTo>
                    <a:pt x="86436" y="163868"/>
                  </a:lnTo>
                  <a:lnTo>
                    <a:pt x="86436" y="300913"/>
                  </a:lnTo>
                  <a:lnTo>
                    <a:pt x="102857" y="300913"/>
                  </a:lnTo>
                  <a:lnTo>
                    <a:pt x="102857" y="163868"/>
                  </a:lnTo>
                  <a:close/>
                </a:path>
                <a:path w="413384" h="300989">
                  <a:moveTo>
                    <a:pt x="240322" y="122288"/>
                  </a:moveTo>
                  <a:lnTo>
                    <a:pt x="239623" y="120129"/>
                  </a:lnTo>
                  <a:lnTo>
                    <a:pt x="237947" y="118287"/>
                  </a:lnTo>
                  <a:lnTo>
                    <a:pt x="212394" y="80098"/>
                  </a:lnTo>
                  <a:lnTo>
                    <a:pt x="186461" y="42214"/>
                  </a:lnTo>
                  <a:lnTo>
                    <a:pt x="155676" y="11112"/>
                  </a:lnTo>
                  <a:lnTo>
                    <a:pt x="116332" y="88"/>
                  </a:lnTo>
                  <a:lnTo>
                    <a:pt x="57048" y="88"/>
                  </a:lnTo>
                  <a:lnTo>
                    <a:pt x="53340" y="482"/>
                  </a:lnTo>
                  <a:lnTo>
                    <a:pt x="49669" y="1244"/>
                  </a:lnTo>
                  <a:lnTo>
                    <a:pt x="42583" y="2540"/>
                  </a:lnTo>
                  <a:lnTo>
                    <a:pt x="9118" y="28194"/>
                  </a:lnTo>
                  <a:lnTo>
                    <a:pt x="0" y="55041"/>
                  </a:lnTo>
                  <a:lnTo>
                    <a:pt x="190" y="62242"/>
                  </a:lnTo>
                  <a:lnTo>
                    <a:pt x="355" y="110096"/>
                  </a:lnTo>
                  <a:lnTo>
                    <a:pt x="190" y="126060"/>
                  </a:lnTo>
                  <a:lnTo>
                    <a:pt x="215" y="130771"/>
                  </a:lnTo>
                  <a:lnTo>
                    <a:pt x="965" y="135369"/>
                  </a:lnTo>
                  <a:lnTo>
                    <a:pt x="26162" y="167513"/>
                  </a:lnTo>
                  <a:lnTo>
                    <a:pt x="31864" y="169418"/>
                  </a:lnTo>
                  <a:lnTo>
                    <a:pt x="32867" y="170103"/>
                  </a:lnTo>
                  <a:lnTo>
                    <a:pt x="34353" y="172262"/>
                  </a:lnTo>
                  <a:lnTo>
                    <a:pt x="34632" y="173443"/>
                  </a:lnTo>
                  <a:lnTo>
                    <a:pt x="34442" y="174739"/>
                  </a:lnTo>
                  <a:lnTo>
                    <a:pt x="34442" y="300812"/>
                  </a:lnTo>
                  <a:lnTo>
                    <a:pt x="50977" y="300812"/>
                  </a:lnTo>
                  <a:lnTo>
                    <a:pt x="50977" y="74460"/>
                  </a:lnTo>
                  <a:lnTo>
                    <a:pt x="51155" y="73342"/>
                  </a:lnTo>
                  <a:lnTo>
                    <a:pt x="51155" y="72224"/>
                  </a:lnTo>
                  <a:lnTo>
                    <a:pt x="50977" y="71107"/>
                  </a:lnTo>
                  <a:lnTo>
                    <a:pt x="50673" y="70256"/>
                  </a:lnTo>
                  <a:lnTo>
                    <a:pt x="49720" y="69062"/>
                  </a:lnTo>
                  <a:lnTo>
                    <a:pt x="34442" y="69062"/>
                  </a:lnTo>
                  <a:lnTo>
                    <a:pt x="34442" y="152095"/>
                  </a:lnTo>
                  <a:lnTo>
                    <a:pt x="29527" y="150329"/>
                  </a:lnTo>
                  <a:lnTo>
                    <a:pt x="25476" y="147358"/>
                  </a:lnTo>
                  <a:lnTo>
                    <a:pt x="19100" y="139052"/>
                  </a:lnTo>
                  <a:lnTo>
                    <a:pt x="17297" y="134378"/>
                  </a:lnTo>
                  <a:lnTo>
                    <a:pt x="16865" y="129159"/>
                  </a:lnTo>
                  <a:lnTo>
                    <a:pt x="16878" y="55308"/>
                  </a:lnTo>
                  <a:lnTo>
                    <a:pt x="40779" y="20980"/>
                  </a:lnTo>
                  <a:lnTo>
                    <a:pt x="55448" y="16649"/>
                  </a:lnTo>
                  <a:lnTo>
                    <a:pt x="123621" y="16687"/>
                  </a:lnTo>
                  <a:lnTo>
                    <a:pt x="163423" y="39852"/>
                  </a:lnTo>
                  <a:lnTo>
                    <a:pt x="190931" y="77685"/>
                  </a:lnTo>
                  <a:lnTo>
                    <a:pt x="219113" y="119799"/>
                  </a:lnTo>
                  <a:lnTo>
                    <a:pt x="220116" y="122643"/>
                  </a:lnTo>
                  <a:lnTo>
                    <a:pt x="219570" y="123304"/>
                  </a:lnTo>
                  <a:lnTo>
                    <a:pt x="182295" y="112052"/>
                  </a:lnTo>
                  <a:lnTo>
                    <a:pt x="169964" y="99034"/>
                  </a:lnTo>
                  <a:lnTo>
                    <a:pt x="145186" y="73113"/>
                  </a:lnTo>
                  <a:lnTo>
                    <a:pt x="143446" y="71132"/>
                  </a:lnTo>
                  <a:lnTo>
                    <a:pt x="141312" y="69786"/>
                  </a:lnTo>
                  <a:lnTo>
                    <a:pt x="138772" y="69062"/>
                  </a:lnTo>
                  <a:lnTo>
                    <a:pt x="133070" y="68008"/>
                  </a:lnTo>
                  <a:lnTo>
                    <a:pt x="129209" y="72212"/>
                  </a:lnTo>
                  <a:lnTo>
                    <a:pt x="129209" y="300913"/>
                  </a:lnTo>
                  <a:lnTo>
                    <a:pt x="146685" y="300863"/>
                  </a:lnTo>
                  <a:lnTo>
                    <a:pt x="146380" y="298665"/>
                  </a:lnTo>
                  <a:lnTo>
                    <a:pt x="146342" y="99364"/>
                  </a:lnTo>
                  <a:lnTo>
                    <a:pt x="147434" y="98856"/>
                  </a:lnTo>
                  <a:lnTo>
                    <a:pt x="148196" y="99987"/>
                  </a:lnTo>
                  <a:lnTo>
                    <a:pt x="149898" y="102108"/>
                  </a:lnTo>
                  <a:lnTo>
                    <a:pt x="158153" y="110947"/>
                  </a:lnTo>
                  <a:lnTo>
                    <a:pt x="182956" y="137172"/>
                  </a:lnTo>
                  <a:lnTo>
                    <a:pt x="185801" y="140563"/>
                  </a:lnTo>
                  <a:lnTo>
                    <a:pt x="189217" y="143205"/>
                  </a:lnTo>
                  <a:lnTo>
                    <a:pt x="197205" y="147002"/>
                  </a:lnTo>
                  <a:lnTo>
                    <a:pt x="201409" y="147993"/>
                  </a:lnTo>
                  <a:lnTo>
                    <a:pt x="210261" y="148145"/>
                  </a:lnTo>
                  <a:lnTo>
                    <a:pt x="214490" y="147307"/>
                  </a:lnTo>
                  <a:lnTo>
                    <a:pt x="222605" y="143776"/>
                  </a:lnTo>
                  <a:lnTo>
                    <a:pt x="226123" y="141262"/>
                  </a:lnTo>
                  <a:lnTo>
                    <a:pt x="229082" y="137972"/>
                  </a:lnTo>
                  <a:lnTo>
                    <a:pt x="231584" y="135623"/>
                  </a:lnTo>
                  <a:lnTo>
                    <a:pt x="236588" y="130619"/>
                  </a:lnTo>
                  <a:lnTo>
                    <a:pt x="238633" y="129184"/>
                  </a:lnTo>
                  <a:lnTo>
                    <a:pt x="239776" y="127228"/>
                  </a:lnTo>
                  <a:lnTo>
                    <a:pt x="240322" y="122288"/>
                  </a:lnTo>
                  <a:close/>
                </a:path>
                <a:path w="413384" h="300989">
                  <a:moveTo>
                    <a:pt x="274929" y="76123"/>
                  </a:moveTo>
                  <a:lnTo>
                    <a:pt x="274523" y="74282"/>
                  </a:lnTo>
                  <a:lnTo>
                    <a:pt x="272376" y="70891"/>
                  </a:lnTo>
                  <a:lnTo>
                    <a:pt x="270878" y="69723"/>
                  </a:lnTo>
                  <a:lnTo>
                    <a:pt x="267055" y="68503"/>
                  </a:lnTo>
                  <a:lnTo>
                    <a:pt x="265163" y="68567"/>
                  </a:lnTo>
                  <a:lnTo>
                    <a:pt x="261429" y="70078"/>
                  </a:lnTo>
                  <a:lnTo>
                    <a:pt x="260032" y="71335"/>
                  </a:lnTo>
                  <a:lnTo>
                    <a:pt x="259080" y="73113"/>
                  </a:lnTo>
                  <a:lnTo>
                    <a:pt x="255155" y="78193"/>
                  </a:lnTo>
                  <a:lnTo>
                    <a:pt x="234188" y="106273"/>
                  </a:lnTo>
                  <a:lnTo>
                    <a:pt x="247408" y="116293"/>
                  </a:lnTo>
                  <a:lnTo>
                    <a:pt x="257429" y="103466"/>
                  </a:lnTo>
                  <a:lnTo>
                    <a:pt x="258330" y="103962"/>
                  </a:lnTo>
                  <a:lnTo>
                    <a:pt x="258330" y="300913"/>
                  </a:lnTo>
                  <a:lnTo>
                    <a:pt x="274662" y="300761"/>
                  </a:lnTo>
                  <a:lnTo>
                    <a:pt x="274662" y="78117"/>
                  </a:lnTo>
                  <a:lnTo>
                    <a:pt x="274929" y="76123"/>
                  </a:lnTo>
                  <a:close/>
                </a:path>
                <a:path w="413384" h="300989">
                  <a:moveTo>
                    <a:pt x="326656" y="163868"/>
                  </a:moveTo>
                  <a:lnTo>
                    <a:pt x="310172" y="163868"/>
                  </a:lnTo>
                  <a:lnTo>
                    <a:pt x="310172" y="300913"/>
                  </a:lnTo>
                  <a:lnTo>
                    <a:pt x="326656" y="300913"/>
                  </a:lnTo>
                  <a:lnTo>
                    <a:pt x="326656" y="163868"/>
                  </a:lnTo>
                  <a:close/>
                </a:path>
                <a:path w="413384" h="300989">
                  <a:moveTo>
                    <a:pt x="413004" y="55333"/>
                  </a:moveTo>
                  <a:lnTo>
                    <a:pt x="412661" y="54533"/>
                  </a:lnTo>
                  <a:lnTo>
                    <a:pt x="412203" y="52882"/>
                  </a:lnTo>
                  <a:lnTo>
                    <a:pt x="411213" y="45567"/>
                  </a:lnTo>
                  <a:lnTo>
                    <a:pt x="408978" y="38646"/>
                  </a:lnTo>
                  <a:lnTo>
                    <a:pt x="380136" y="6502"/>
                  </a:lnTo>
                  <a:lnTo>
                    <a:pt x="359181" y="0"/>
                  </a:lnTo>
                  <a:lnTo>
                    <a:pt x="289750" y="0"/>
                  </a:lnTo>
                  <a:lnTo>
                    <a:pt x="252488" y="15773"/>
                  </a:lnTo>
                  <a:lnTo>
                    <a:pt x="228244" y="46697"/>
                  </a:lnTo>
                  <a:lnTo>
                    <a:pt x="217563" y="63042"/>
                  </a:lnTo>
                  <a:lnTo>
                    <a:pt x="217563" y="63944"/>
                  </a:lnTo>
                  <a:lnTo>
                    <a:pt x="230530" y="72859"/>
                  </a:lnTo>
                  <a:lnTo>
                    <a:pt x="232791" y="69913"/>
                  </a:lnTo>
                  <a:lnTo>
                    <a:pt x="243890" y="52743"/>
                  </a:lnTo>
                  <a:lnTo>
                    <a:pt x="252196" y="40932"/>
                  </a:lnTo>
                  <a:lnTo>
                    <a:pt x="283895" y="17551"/>
                  </a:lnTo>
                  <a:lnTo>
                    <a:pt x="292442" y="16713"/>
                  </a:lnTo>
                  <a:lnTo>
                    <a:pt x="354761" y="16725"/>
                  </a:lnTo>
                  <a:lnTo>
                    <a:pt x="388962" y="36791"/>
                  </a:lnTo>
                  <a:lnTo>
                    <a:pt x="395922" y="56451"/>
                  </a:lnTo>
                  <a:lnTo>
                    <a:pt x="395566" y="78054"/>
                  </a:lnTo>
                  <a:lnTo>
                    <a:pt x="395465" y="94348"/>
                  </a:lnTo>
                  <a:lnTo>
                    <a:pt x="395566" y="110617"/>
                  </a:lnTo>
                  <a:lnTo>
                    <a:pt x="395871" y="126860"/>
                  </a:lnTo>
                  <a:lnTo>
                    <a:pt x="395592" y="133197"/>
                  </a:lnTo>
                  <a:lnTo>
                    <a:pt x="369722" y="154952"/>
                  </a:lnTo>
                  <a:lnTo>
                    <a:pt x="369430" y="153098"/>
                  </a:lnTo>
                  <a:lnTo>
                    <a:pt x="369430" y="71107"/>
                  </a:lnTo>
                  <a:lnTo>
                    <a:pt x="368528" y="69062"/>
                  </a:lnTo>
                  <a:lnTo>
                    <a:pt x="352945" y="69062"/>
                  </a:lnTo>
                  <a:lnTo>
                    <a:pt x="352945" y="300913"/>
                  </a:lnTo>
                  <a:lnTo>
                    <a:pt x="369620" y="300863"/>
                  </a:lnTo>
                  <a:lnTo>
                    <a:pt x="369620" y="171729"/>
                  </a:lnTo>
                  <a:lnTo>
                    <a:pt x="376288" y="170929"/>
                  </a:lnTo>
                  <a:lnTo>
                    <a:pt x="409994" y="142303"/>
                  </a:lnTo>
                  <a:lnTo>
                    <a:pt x="412432" y="133019"/>
                  </a:lnTo>
                  <a:lnTo>
                    <a:pt x="413004" y="131914"/>
                  </a:lnTo>
                  <a:lnTo>
                    <a:pt x="413004" y="55333"/>
                  </a:lnTo>
                  <a:close/>
                </a:path>
              </a:pathLst>
            </a:custGeom>
            <a:solidFill>
              <a:srgbClr val="F72E40"/>
            </a:solidFill>
          </p:spPr>
          <p:txBody>
            <a:bodyPr wrap="square" lIns="0" tIns="0" rIns="0" bIns="0" rtlCol="0"/>
            <a:lstStyle/>
            <a:p>
              <a:endParaRPr sz="2118"/>
            </a:p>
          </p:txBody>
        </p:sp>
        <p:pic>
          <p:nvPicPr>
            <p:cNvPr id="71" name="object 71"/>
            <p:cNvPicPr/>
            <p:nvPr/>
          </p:nvPicPr>
          <p:blipFill>
            <a:blip r:embed="rId15" cstate="print"/>
            <a:stretch>
              <a:fillRect/>
            </a:stretch>
          </p:blipFill>
          <p:spPr>
            <a:xfrm>
              <a:off x="980497" y="3642855"/>
              <a:ext cx="86029" cy="103032"/>
            </a:xfrm>
            <a:prstGeom prst="rect">
              <a:avLst/>
            </a:prstGeom>
          </p:spPr>
        </p:pic>
        <p:pic>
          <p:nvPicPr>
            <p:cNvPr id="72" name="object 72"/>
            <p:cNvPicPr/>
            <p:nvPr/>
          </p:nvPicPr>
          <p:blipFill>
            <a:blip r:embed="rId16" cstate="print"/>
            <a:stretch>
              <a:fillRect/>
            </a:stretch>
          </p:blipFill>
          <p:spPr>
            <a:xfrm>
              <a:off x="1203414" y="3643760"/>
              <a:ext cx="86716" cy="102227"/>
            </a:xfrm>
            <a:prstGeom prst="rect">
              <a:avLst/>
            </a:prstGeom>
          </p:spPr>
        </p:pic>
        <p:sp>
          <p:nvSpPr>
            <p:cNvPr id="73" name="object 73"/>
            <p:cNvSpPr/>
            <p:nvPr/>
          </p:nvSpPr>
          <p:spPr>
            <a:xfrm>
              <a:off x="1370418" y="3755110"/>
              <a:ext cx="413384" cy="300990"/>
            </a:xfrm>
            <a:custGeom>
              <a:avLst/>
              <a:gdLst/>
              <a:ahLst/>
              <a:cxnLst/>
              <a:rect l="l" t="t" r="r" b="b"/>
              <a:pathLst>
                <a:path w="413385" h="300989">
                  <a:moveTo>
                    <a:pt x="103009" y="163880"/>
                  </a:moveTo>
                  <a:lnTo>
                    <a:pt x="86575" y="163880"/>
                  </a:lnTo>
                  <a:lnTo>
                    <a:pt x="86575" y="300926"/>
                  </a:lnTo>
                  <a:lnTo>
                    <a:pt x="103009" y="300926"/>
                  </a:lnTo>
                  <a:lnTo>
                    <a:pt x="103009" y="163880"/>
                  </a:lnTo>
                  <a:close/>
                </a:path>
                <a:path w="413385" h="300989">
                  <a:moveTo>
                    <a:pt x="240106" y="122212"/>
                  </a:moveTo>
                  <a:lnTo>
                    <a:pt x="239407" y="120053"/>
                  </a:lnTo>
                  <a:lnTo>
                    <a:pt x="237744" y="118198"/>
                  </a:lnTo>
                  <a:lnTo>
                    <a:pt x="212140" y="80010"/>
                  </a:lnTo>
                  <a:lnTo>
                    <a:pt x="186207" y="42125"/>
                  </a:lnTo>
                  <a:lnTo>
                    <a:pt x="155676" y="11023"/>
                  </a:lnTo>
                  <a:lnTo>
                    <a:pt x="116332" y="0"/>
                  </a:lnTo>
                  <a:lnTo>
                    <a:pt x="57073" y="0"/>
                  </a:lnTo>
                  <a:lnTo>
                    <a:pt x="53352" y="393"/>
                  </a:lnTo>
                  <a:lnTo>
                    <a:pt x="49669" y="1155"/>
                  </a:lnTo>
                  <a:lnTo>
                    <a:pt x="42583" y="2451"/>
                  </a:lnTo>
                  <a:lnTo>
                    <a:pt x="9131" y="28117"/>
                  </a:lnTo>
                  <a:lnTo>
                    <a:pt x="0" y="54952"/>
                  </a:lnTo>
                  <a:lnTo>
                    <a:pt x="177" y="62153"/>
                  </a:lnTo>
                  <a:lnTo>
                    <a:pt x="330" y="110007"/>
                  </a:lnTo>
                  <a:lnTo>
                    <a:pt x="177" y="125971"/>
                  </a:lnTo>
                  <a:lnTo>
                    <a:pt x="215" y="130708"/>
                  </a:lnTo>
                  <a:lnTo>
                    <a:pt x="965" y="135331"/>
                  </a:lnTo>
                  <a:lnTo>
                    <a:pt x="26466" y="167551"/>
                  </a:lnTo>
                  <a:lnTo>
                    <a:pt x="32207" y="169430"/>
                  </a:lnTo>
                  <a:lnTo>
                    <a:pt x="33223" y="170116"/>
                  </a:lnTo>
                  <a:lnTo>
                    <a:pt x="34696" y="172275"/>
                  </a:lnTo>
                  <a:lnTo>
                    <a:pt x="34975" y="173456"/>
                  </a:lnTo>
                  <a:lnTo>
                    <a:pt x="34785" y="174752"/>
                  </a:lnTo>
                  <a:lnTo>
                    <a:pt x="34785" y="300824"/>
                  </a:lnTo>
                  <a:lnTo>
                    <a:pt x="50965" y="300824"/>
                  </a:lnTo>
                  <a:lnTo>
                    <a:pt x="50965" y="74472"/>
                  </a:lnTo>
                  <a:lnTo>
                    <a:pt x="51142" y="73355"/>
                  </a:lnTo>
                  <a:lnTo>
                    <a:pt x="51142" y="72237"/>
                  </a:lnTo>
                  <a:lnTo>
                    <a:pt x="50965" y="71120"/>
                  </a:lnTo>
                  <a:lnTo>
                    <a:pt x="50711" y="70269"/>
                  </a:lnTo>
                  <a:lnTo>
                    <a:pt x="49771" y="69075"/>
                  </a:lnTo>
                  <a:lnTo>
                    <a:pt x="34442" y="69075"/>
                  </a:lnTo>
                  <a:lnTo>
                    <a:pt x="34442" y="152107"/>
                  </a:lnTo>
                  <a:lnTo>
                    <a:pt x="29527" y="150329"/>
                  </a:lnTo>
                  <a:lnTo>
                    <a:pt x="25476" y="147370"/>
                  </a:lnTo>
                  <a:lnTo>
                    <a:pt x="19126" y="139065"/>
                  </a:lnTo>
                  <a:lnTo>
                    <a:pt x="17335" y="134378"/>
                  </a:lnTo>
                  <a:lnTo>
                    <a:pt x="16903" y="129171"/>
                  </a:lnTo>
                  <a:lnTo>
                    <a:pt x="16903" y="55308"/>
                  </a:lnTo>
                  <a:lnTo>
                    <a:pt x="40830" y="20993"/>
                  </a:lnTo>
                  <a:lnTo>
                    <a:pt x="55499" y="16662"/>
                  </a:lnTo>
                  <a:lnTo>
                    <a:pt x="123698" y="16700"/>
                  </a:lnTo>
                  <a:lnTo>
                    <a:pt x="163461" y="39865"/>
                  </a:lnTo>
                  <a:lnTo>
                    <a:pt x="191020" y="77698"/>
                  </a:lnTo>
                  <a:lnTo>
                    <a:pt x="219913" y="120904"/>
                  </a:lnTo>
                  <a:lnTo>
                    <a:pt x="220065" y="122072"/>
                  </a:lnTo>
                  <a:lnTo>
                    <a:pt x="219659" y="123317"/>
                  </a:lnTo>
                  <a:lnTo>
                    <a:pt x="182410" y="112064"/>
                  </a:lnTo>
                  <a:lnTo>
                    <a:pt x="170103" y="99047"/>
                  </a:lnTo>
                  <a:lnTo>
                    <a:pt x="145275" y="73126"/>
                  </a:lnTo>
                  <a:lnTo>
                    <a:pt x="143535" y="71145"/>
                  </a:lnTo>
                  <a:lnTo>
                    <a:pt x="141401" y="69799"/>
                  </a:lnTo>
                  <a:lnTo>
                    <a:pt x="138874" y="69075"/>
                  </a:lnTo>
                  <a:lnTo>
                    <a:pt x="133159" y="68021"/>
                  </a:lnTo>
                  <a:lnTo>
                    <a:pt x="129298" y="72224"/>
                  </a:lnTo>
                  <a:lnTo>
                    <a:pt x="129298" y="300926"/>
                  </a:lnTo>
                  <a:lnTo>
                    <a:pt x="146431" y="300774"/>
                  </a:lnTo>
                  <a:lnTo>
                    <a:pt x="146088" y="299669"/>
                  </a:lnTo>
                  <a:lnTo>
                    <a:pt x="146088" y="99275"/>
                  </a:lnTo>
                  <a:lnTo>
                    <a:pt x="147180" y="98767"/>
                  </a:lnTo>
                  <a:lnTo>
                    <a:pt x="147967" y="99898"/>
                  </a:lnTo>
                  <a:lnTo>
                    <a:pt x="149694" y="102031"/>
                  </a:lnTo>
                  <a:lnTo>
                    <a:pt x="182740" y="137083"/>
                  </a:lnTo>
                  <a:lnTo>
                    <a:pt x="185597" y="140474"/>
                  </a:lnTo>
                  <a:lnTo>
                    <a:pt x="189014" y="143116"/>
                  </a:lnTo>
                  <a:lnTo>
                    <a:pt x="197002" y="146913"/>
                  </a:lnTo>
                  <a:lnTo>
                    <a:pt x="201206" y="147904"/>
                  </a:lnTo>
                  <a:lnTo>
                    <a:pt x="210045" y="148056"/>
                  </a:lnTo>
                  <a:lnTo>
                    <a:pt x="214287" y="147218"/>
                  </a:lnTo>
                  <a:lnTo>
                    <a:pt x="222402" y="143687"/>
                  </a:lnTo>
                  <a:lnTo>
                    <a:pt x="225907" y="141173"/>
                  </a:lnTo>
                  <a:lnTo>
                    <a:pt x="228879" y="137883"/>
                  </a:lnTo>
                  <a:lnTo>
                    <a:pt x="236334" y="130530"/>
                  </a:lnTo>
                  <a:lnTo>
                    <a:pt x="238379" y="129108"/>
                  </a:lnTo>
                  <a:lnTo>
                    <a:pt x="239547" y="127152"/>
                  </a:lnTo>
                  <a:lnTo>
                    <a:pt x="240106" y="122212"/>
                  </a:lnTo>
                  <a:close/>
                </a:path>
                <a:path w="413385" h="300989">
                  <a:moveTo>
                    <a:pt x="275018" y="76136"/>
                  </a:moveTo>
                  <a:lnTo>
                    <a:pt x="274612" y="74295"/>
                  </a:lnTo>
                  <a:lnTo>
                    <a:pt x="272465" y="70904"/>
                  </a:lnTo>
                  <a:lnTo>
                    <a:pt x="270967" y="69735"/>
                  </a:lnTo>
                  <a:lnTo>
                    <a:pt x="267144" y="68516"/>
                  </a:lnTo>
                  <a:lnTo>
                    <a:pt x="265252" y="68580"/>
                  </a:lnTo>
                  <a:lnTo>
                    <a:pt x="261531" y="70091"/>
                  </a:lnTo>
                  <a:lnTo>
                    <a:pt x="260121" y="71348"/>
                  </a:lnTo>
                  <a:lnTo>
                    <a:pt x="259181" y="73126"/>
                  </a:lnTo>
                  <a:lnTo>
                    <a:pt x="255244" y="78206"/>
                  </a:lnTo>
                  <a:lnTo>
                    <a:pt x="234289" y="106286"/>
                  </a:lnTo>
                  <a:lnTo>
                    <a:pt x="247561" y="116306"/>
                  </a:lnTo>
                  <a:lnTo>
                    <a:pt x="257581" y="103479"/>
                  </a:lnTo>
                  <a:lnTo>
                    <a:pt x="258533" y="103974"/>
                  </a:lnTo>
                  <a:lnTo>
                    <a:pt x="258533" y="300926"/>
                  </a:lnTo>
                  <a:lnTo>
                    <a:pt x="274751" y="300977"/>
                  </a:lnTo>
                  <a:lnTo>
                    <a:pt x="274751" y="78130"/>
                  </a:lnTo>
                  <a:lnTo>
                    <a:pt x="275018" y="76136"/>
                  </a:lnTo>
                  <a:close/>
                </a:path>
                <a:path w="413385" h="300989">
                  <a:moveTo>
                    <a:pt x="326847" y="163880"/>
                  </a:moveTo>
                  <a:lnTo>
                    <a:pt x="310311" y="163880"/>
                  </a:lnTo>
                  <a:lnTo>
                    <a:pt x="310311" y="300926"/>
                  </a:lnTo>
                  <a:lnTo>
                    <a:pt x="326847" y="300926"/>
                  </a:lnTo>
                  <a:lnTo>
                    <a:pt x="326847" y="163880"/>
                  </a:lnTo>
                  <a:close/>
                </a:path>
                <a:path w="413385" h="300989">
                  <a:moveTo>
                    <a:pt x="413194" y="55346"/>
                  </a:moveTo>
                  <a:lnTo>
                    <a:pt x="412838" y="54559"/>
                  </a:lnTo>
                  <a:lnTo>
                    <a:pt x="412343" y="52895"/>
                  </a:lnTo>
                  <a:lnTo>
                    <a:pt x="411365" y="45567"/>
                  </a:lnTo>
                  <a:lnTo>
                    <a:pt x="409130" y="38658"/>
                  </a:lnTo>
                  <a:lnTo>
                    <a:pt x="380288" y="6502"/>
                  </a:lnTo>
                  <a:lnTo>
                    <a:pt x="359321" y="0"/>
                  </a:lnTo>
                  <a:lnTo>
                    <a:pt x="289915" y="0"/>
                  </a:lnTo>
                  <a:lnTo>
                    <a:pt x="252653" y="15786"/>
                  </a:lnTo>
                  <a:lnTo>
                    <a:pt x="228409" y="46710"/>
                  </a:lnTo>
                  <a:lnTo>
                    <a:pt x="217754" y="63055"/>
                  </a:lnTo>
                  <a:lnTo>
                    <a:pt x="217754" y="63957"/>
                  </a:lnTo>
                  <a:lnTo>
                    <a:pt x="230784" y="72872"/>
                  </a:lnTo>
                  <a:lnTo>
                    <a:pt x="232384" y="70827"/>
                  </a:lnTo>
                  <a:lnTo>
                    <a:pt x="244106" y="52755"/>
                  </a:lnTo>
                  <a:lnTo>
                    <a:pt x="252387" y="40944"/>
                  </a:lnTo>
                  <a:lnTo>
                    <a:pt x="284099" y="17576"/>
                  </a:lnTo>
                  <a:lnTo>
                    <a:pt x="292633" y="16725"/>
                  </a:lnTo>
                  <a:lnTo>
                    <a:pt x="355028" y="16751"/>
                  </a:lnTo>
                  <a:lnTo>
                    <a:pt x="389216" y="36817"/>
                  </a:lnTo>
                  <a:lnTo>
                    <a:pt x="396176" y="56464"/>
                  </a:lnTo>
                  <a:lnTo>
                    <a:pt x="395795" y="78066"/>
                  </a:lnTo>
                  <a:lnTo>
                    <a:pt x="395693" y="94361"/>
                  </a:lnTo>
                  <a:lnTo>
                    <a:pt x="395795" y="110629"/>
                  </a:lnTo>
                  <a:lnTo>
                    <a:pt x="396113" y="126873"/>
                  </a:lnTo>
                  <a:lnTo>
                    <a:pt x="395833" y="133210"/>
                  </a:lnTo>
                  <a:lnTo>
                    <a:pt x="369976" y="154965"/>
                  </a:lnTo>
                  <a:lnTo>
                    <a:pt x="369620" y="153111"/>
                  </a:lnTo>
                  <a:lnTo>
                    <a:pt x="369570" y="71120"/>
                  </a:lnTo>
                  <a:lnTo>
                    <a:pt x="368719" y="69075"/>
                  </a:lnTo>
                  <a:lnTo>
                    <a:pt x="353085" y="69075"/>
                  </a:lnTo>
                  <a:lnTo>
                    <a:pt x="353085" y="300926"/>
                  </a:lnTo>
                  <a:lnTo>
                    <a:pt x="369773" y="300875"/>
                  </a:lnTo>
                  <a:lnTo>
                    <a:pt x="369773" y="171742"/>
                  </a:lnTo>
                  <a:lnTo>
                    <a:pt x="376440" y="170942"/>
                  </a:lnTo>
                  <a:lnTo>
                    <a:pt x="410159" y="142303"/>
                  </a:lnTo>
                  <a:lnTo>
                    <a:pt x="412597" y="133019"/>
                  </a:lnTo>
                  <a:lnTo>
                    <a:pt x="412851" y="132448"/>
                  </a:lnTo>
                  <a:lnTo>
                    <a:pt x="413194" y="131927"/>
                  </a:lnTo>
                  <a:lnTo>
                    <a:pt x="413194" y="55346"/>
                  </a:lnTo>
                  <a:close/>
                </a:path>
              </a:pathLst>
            </a:custGeom>
            <a:solidFill>
              <a:srgbClr val="F72E40"/>
            </a:solidFill>
          </p:spPr>
          <p:txBody>
            <a:bodyPr wrap="square" lIns="0" tIns="0" rIns="0" bIns="0" rtlCol="0"/>
            <a:lstStyle/>
            <a:p>
              <a:endParaRPr sz="2118"/>
            </a:p>
          </p:txBody>
        </p:sp>
        <p:pic>
          <p:nvPicPr>
            <p:cNvPr id="74" name="object 74"/>
            <p:cNvPicPr/>
            <p:nvPr/>
          </p:nvPicPr>
          <p:blipFill>
            <a:blip r:embed="rId18" cstate="print"/>
            <a:stretch>
              <a:fillRect/>
            </a:stretch>
          </p:blipFill>
          <p:spPr>
            <a:xfrm>
              <a:off x="1422649" y="3642855"/>
              <a:ext cx="85894" cy="103032"/>
            </a:xfrm>
            <a:prstGeom prst="rect">
              <a:avLst/>
            </a:prstGeom>
          </p:spPr>
        </p:pic>
        <p:pic>
          <p:nvPicPr>
            <p:cNvPr id="75" name="object 75"/>
            <p:cNvPicPr/>
            <p:nvPr/>
          </p:nvPicPr>
          <p:blipFill>
            <a:blip r:embed="rId39" cstate="print"/>
            <a:stretch>
              <a:fillRect/>
            </a:stretch>
          </p:blipFill>
          <p:spPr>
            <a:xfrm>
              <a:off x="1645481" y="3643760"/>
              <a:ext cx="86796" cy="102227"/>
            </a:xfrm>
            <a:prstGeom prst="rect">
              <a:avLst/>
            </a:prstGeom>
          </p:spPr>
        </p:pic>
        <p:sp>
          <p:nvSpPr>
            <p:cNvPr id="76" name="object 76"/>
            <p:cNvSpPr/>
            <p:nvPr/>
          </p:nvSpPr>
          <p:spPr>
            <a:xfrm>
              <a:off x="1812188" y="3754717"/>
              <a:ext cx="413384" cy="301625"/>
            </a:xfrm>
            <a:custGeom>
              <a:avLst/>
              <a:gdLst/>
              <a:ahLst/>
              <a:cxnLst/>
              <a:rect l="l" t="t" r="r" b="b"/>
              <a:pathLst>
                <a:path w="413385" h="301625">
                  <a:moveTo>
                    <a:pt x="103251" y="164274"/>
                  </a:moveTo>
                  <a:lnTo>
                    <a:pt x="86829" y="164274"/>
                  </a:lnTo>
                  <a:lnTo>
                    <a:pt x="86829" y="301320"/>
                  </a:lnTo>
                  <a:lnTo>
                    <a:pt x="103251" y="301320"/>
                  </a:lnTo>
                  <a:lnTo>
                    <a:pt x="103251" y="164274"/>
                  </a:lnTo>
                  <a:close/>
                </a:path>
                <a:path w="413385" h="301625">
                  <a:moveTo>
                    <a:pt x="240360" y="122593"/>
                  </a:moveTo>
                  <a:lnTo>
                    <a:pt x="239661" y="120434"/>
                  </a:lnTo>
                  <a:lnTo>
                    <a:pt x="237985" y="118592"/>
                  </a:lnTo>
                  <a:lnTo>
                    <a:pt x="212407" y="80403"/>
                  </a:lnTo>
                  <a:lnTo>
                    <a:pt x="186499" y="42519"/>
                  </a:lnTo>
                  <a:lnTo>
                    <a:pt x="155714" y="11404"/>
                  </a:lnTo>
                  <a:lnTo>
                    <a:pt x="116382" y="393"/>
                  </a:lnTo>
                  <a:lnTo>
                    <a:pt x="57073" y="406"/>
                  </a:lnTo>
                  <a:lnTo>
                    <a:pt x="53352" y="787"/>
                  </a:lnTo>
                  <a:lnTo>
                    <a:pt x="49657" y="1549"/>
                  </a:lnTo>
                  <a:lnTo>
                    <a:pt x="42570" y="2819"/>
                  </a:lnTo>
                  <a:lnTo>
                    <a:pt x="9067" y="28460"/>
                  </a:lnTo>
                  <a:lnTo>
                    <a:pt x="0" y="55346"/>
                  </a:lnTo>
                  <a:lnTo>
                    <a:pt x="228" y="62547"/>
                  </a:lnTo>
                  <a:lnTo>
                    <a:pt x="393" y="110401"/>
                  </a:lnTo>
                  <a:lnTo>
                    <a:pt x="228" y="126365"/>
                  </a:lnTo>
                  <a:lnTo>
                    <a:pt x="266" y="131102"/>
                  </a:lnTo>
                  <a:lnTo>
                    <a:pt x="1016" y="135737"/>
                  </a:lnTo>
                  <a:lnTo>
                    <a:pt x="26555" y="167957"/>
                  </a:lnTo>
                  <a:lnTo>
                    <a:pt x="32308" y="169824"/>
                  </a:lnTo>
                  <a:lnTo>
                    <a:pt x="33312" y="170510"/>
                  </a:lnTo>
                  <a:lnTo>
                    <a:pt x="34798" y="172669"/>
                  </a:lnTo>
                  <a:lnTo>
                    <a:pt x="35077" y="173850"/>
                  </a:lnTo>
                  <a:lnTo>
                    <a:pt x="34886" y="175145"/>
                  </a:lnTo>
                  <a:lnTo>
                    <a:pt x="34886" y="301218"/>
                  </a:lnTo>
                  <a:lnTo>
                    <a:pt x="51409" y="301218"/>
                  </a:lnTo>
                  <a:lnTo>
                    <a:pt x="51409" y="74866"/>
                  </a:lnTo>
                  <a:lnTo>
                    <a:pt x="51574" y="73748"/>
                  </a:lnTo>
                  <a:lnTo>
                    <a:pt x="51574" y="72631"/>
                  </a:lnTo>
                  <a:lnTo>
                    <a:pt x="51409" y="71513"/>
                  </a:lnTo>
                  <a:lnTo>
                    <a:pt x="51117" y="70662"/>
                  </a:lnTo>
                  <a:lnTo>
                    <a:pt x="50165" y="69469"/>
                  </a:lnTo>
                  <a:lnTo>
                    <a:pt x="34886" y="69469"/>
                  </a:lnTo>
                  <a:lnTo>
                    <a:pt x="34886" y="152755"/>
                  </a:lnTo>
                  <a:lnTo>
                    <a:pt x="29959" y="150977"/>
                  </a:lnTo>
                  <a:lnTo>
                    <a:pt x="25908" y="148018"/>
                  </a:lnTo>
                  <a:lnTo>
                    <a:pt x="19545" y="139712"/>
                  </a:lnTo>
                  <a:lnTo>
                    <a:pt x="17741" y="135026"/>
                  </a:lnTo>
                  <a:lnTo>
                    <a:pt x="17310" y="129819"/>
                  </a:lnTo>
                  <a:lnTo>
                    <a:pt x="17310" y="55956"/>
                  </a:lnTo>
                  <a:lnTo>
                    <a:pt x="41186" y="21653"/>
                  </a:lnTo>
                  <a:lnTo>
                    <a:pt x="55841" y="17310"/>
                  </a:lnTo>
                  <a:lnTo>
                    <a:pt x="124066" y="17348"/>
                  </a:lnTo>
                  <a:lnTo>
                    <a:pt x="163804" y="40513"/>
                  </a:lnTo>
                  <a:lnTo>
                    <a:pt x="191363" y="78346"/>
                  </a:lnTo>
                  <a:lnTo>
                    <a:pt x="220268" y="121551"/>
                  </a:lnTo>
                  <a:lnTo>
                    <a:pt x="220408" y="122720"/>
                  </a:lnTo>
                  <a:lnTo>
                    <a:pt x="220002" y="123952"/>
                  </a:lnTo>
                  <a:lnTo>
                    <a:pt x="182727" y="112712"/>
                  </a:lnTo>
                  <a:lnTo>
                    <a:pt x="170408" y="99695"/>
                  </a:lnTo>
                  <a:lnTo>
                    <a:pt x="145630" y="73774"/>
                  </a:lnTo>
                  <a:lnTo>
                    <a:pt x="143878" y="71805"/>
                  </a:lnTo>
                  <a:lnTo>
                    <a:pt x="141744" y="70459"/>
                  </a:lnTo>
                  <a:lnTo>
                    <a:pt x="139217" y="69710"/>
                  </a:lnTo>
                  <a:lnTo>
                    <a:pt x="133451" y="68656"/>
                  </a:lnTo>
                  <a:lnTo>
                    <a:pt x="129654" y="72872"/>
                  </a:lnTo>
                  <a:lnTo>
                    <a:pt x="129654" y="301320"/>
                  </a:lnTo>
                  <a:lnTo>
                    <a:pt x="146431" y="301167"/>
                  </a:lnTo>
                  <a:lnTo>
                    <a:pt x="146329" y="300062"/>
                  </a:lnTo>
                  <a:lnTo>
                    <a:pt x="146075" y="298958"/>
                  </a:lnTo>
                  <a:lnTo>
                    <a:pt x="146075" y="101917"/>
                  </a:lnTo>
                  <a:lnTo>
                    <a:pt x="146329" y="100812"/>
                  </a:lnTo>
                  <a:lnTo>
                    <a:pt x="146329" y="99669"/>
                  </a:lnTo>
                  <a:lnTo>
                    <a:pt x="147485" y="99161"/>
                  </a:lnTo>
                  <a:lnTo>
                    <a:pt x="149047" y="101384"/>
                  </a:lnTo>
                  <a:lnTo>
                    <a:pt x="158191" y="111252"/>
                  </a:lnTo>
                  <a:lnTo>
                    <a:pt x="182994" y="137477"/>
                  </a:lnTo>
                  <a:lnTo>
                    <a:pt x="185839" y="140868"/>
                  </a:lnTo>
                  <a:lnTo>
                    <a:pt x="189255" y="143510"/>
                  </a:lnTo>
                  <a:lnTo>
                    <a:pt x="197243" y="147307"/>
                  </a:lnTo>
                  <a:lnTo>
                    <a:pt x="201460" y="148297"/>
                  </a:lnTo>
                  <a:lnTo>
                    <a:pt x="210299" y="148450"/>
                  </a:lnTo>
                  <a:lnTo>
                    <a:pt x="214541" y="147612"/>
                  </a:lnTo>
                  <a:lnTo>
                    <a:pt x="222643" y="144081"/>
                  </a:lnTo>
                  <a:lnTo>
                    <a:pt x="226161" y="141566"/>
                  </a:lnTo>
                  <a:lnTo>
                    <a:pt x="229120" y="138277"/>
                  </a:lnTo>
                  <a:lnTo>
                    <a:pt x="236639" y="130924"/>
                  </a:lnTo>
                  <a:lnTo>
                    <a:pt x="238671" y="129489"/>
                  </a:lnTo>
                  <a:lnTo>
                    <a:pt x="239826" y="127533"/>
                  </a:lnTo>
                  <a:lnTo>
                    <a:pt x="240360" y="122593"/>
                  </a:lnTo>
                  <a:close/>
                </a:path>
                <a:path w="413385" h="301625">
                  <a:moveTo>
                    <a:pt x="275234" y="76555"/>
                  </a:moveTo>
                  <a:lnTo>
                    <a:pt x="274815" y="74739"/>
                  </a:lnTo>
                  <a:lnTo>
                    <a:pt x="272669" y="71386"/>
                  </a:lnTo>
                  <a:lnTo>
                    <a:pt x="271183" y="70256"/>
                  </a:lnTo>
                  <a:lnTo>
                    <a:pt x="267411" y="69037"/>
                  </a:lnTo>
                  <a:lnTo>
                    <a:pt x="265544" y="69088"/>
                  </a:lnTo>
                  <a:lnTo>
                    <a:pt x="261848" y="70548"/>
                  </a:lnTo>
                  <a:lnTo>
                    <a:pt x="260438" y="71780"/>
                  </a:lnTo>
                  <a:lnTo>
                    <a:pt x="259473" y="73520"/>
                  </a:lnTo>
                  <a:lnTo>
                    <a:pt x="255549" y="78600"/>
                  </a:lnTo>
                  <a:lnTo>
                    <a:pt x="234581" y="106680"/>
                  </a:lnTo>
                  <a:lnTo>
                    <a:pt x="247802" y="116700"/>
                  </a:lnTo>
                  <a:lnTo>
                    <a:pt x="257822" y="103873"/>
                  </a:lnTo>
                  <a:lnTo>
                    <a:pt x="258775" y="104368"/>
                  </a:lnTo>
                  <a:lnTo>
                    <a:pt x="258775" y="301320"/>
                  </a:lnTo>
                  <a:lnTo>
                    <a:pt x="275005" y="301167"/>
                  </a:lnTo>
                  <a:lnTo>
                    <a:pt x="275005" y="78524"/>
                  </a:lnTo>
                  <a:lnTo>
                    <a:pt x="275234" y="76555"/>
                  </a:lnTo>
                  <a:close/>
                </a:path>
                <a:path w="413385" h="301625">
                  <a:moveTo>
                    <a:pt x="327088" y="164274"/>
                  </a:moveTo>
                  <a:lnTo>
                    <a:pt x="310565" y="164274"/>
                  </a:lnTo>
                  <a:lnTo>
                    <a:pt x="310565" y="301320"/>
                  </a:lnTo>
                  <a:lnTo>
                    <a:pt x="327088" y="301320"/>
                  </a:lnTo>
                  <a:lnTo>
                    <a:pt x="327088" y="164274"/>
                  </a:lnTo>
                  <a:close/>
                </a:path>
                <a:path w="413385" h="301625">
                  <a:moveTo>
                    <a:pt x="413245" y="55333"/>
                  </a:moveTo>
                  <a:lnTo>
                    <a:pt x="412877" y="54546"/>
                  </a:lnTo>
                  <a:lnTo>
                    <a:pt x="412610" y="53733"/>
                  </a:lnTo>
                  <a:lnTo>
                    <a:pt x="411454" y="45567"/>
                  </a:lnTo>
                  <a:lnTo>
                    <a:pt x="409219" y="38658"/>
                  </a:lnTo>
                  <a:lnTo>
                    <a:pt x="380377" y="6502"/>
                  </a:lnTo>
                  <a:lnTo>
                    <a:pt x="359422" y="0"/>
                  </a:lnTo>
                  <a:lnTo>
                    <a:pt x="289953" y="0"/>
                  </a:lnTo>
                  <a:lnTo>
                    <a:pt x="252704" y="15786"/>
                  </a:lnTo>
                  <a:lnTo>
                    <a:pt x="228473" y="46697"/>
                  </a:lnTo>
                  <a:lnTo>
                    <a:pt x="217805" y="63055"/>
                  </a:lnTo>
                  <a:lnTo>
                    <a:pt x="217805" y="63957"/>
                  </a:lnTo>
                  <a:lnTo>
                    <a:pt x="230822" y="72872"/>
                  </a:lnTo>
                  <a:lnTo>
                    <a:pt x="232435" y="70815"/>
                  </a:lnTo>
                  <a:lnTo>
                    <a:pt x="244373" y="52743"/>
                  </a:lnTo>
                  <a:lnTo>
                    <a:pt x="252666" y="40932"/>
                  </a:lnTo>
                  <a:lnTo>
                    <a:pt x="284340" y="17564"/>
                  </a:lnTo>
                  <a:lnTo>
                    <a:pt x="292887" y="16725"/>
                  </a:lnTo>
                  <a:lnTo>
                    <a:pt x="355206" y="16738"/>
                  </a:lnTo>
                  <a:lnTo>
                    <a:pt x="389407" y="36791"/>
                  </a:lnTo>
                  <a:lnTo>
                    <a:pt x="396367" y="56451"/>
                  </a:lnTo>
                  <a:lnTo>
                    <a:pt x="396036" y="78066"/>
                  </a:lnTo>
                  <a:lnTo>
                    <a:pt x="395935" y="94361"/>
                  </a:lnTo>
                  <a:lnTo>
                    <a:pt x="396036" y="110617"/>
                  </a:lnTo>
                  <a:lnTo>
                    <a:pt x="396316" y="126860"/>
                  </a:lnTo>
                  <a:lnTo>
                    <a:pt x="396036" y="133197"/>
                  </a:lnTo>
                  <a:lnTo>
                    <a:pt x="370166" y="154965"/>
                  </a:lnTo>
                  <a:lnTo>
                    <a:pt x="369862" y="153111"/>
                  </a:lnTo>
                  <a:lnTo>
                    <a:pt x="369862" y="71513"/>
                  </a:lnTo>
                  <a:lnTo>
                    <a:pt x="368960" y="69469"/>
                  </a:lnTo>
                  <a:lnTo>
                    <a:pt x="353390" y="69469"/>
                  </a:lnTo>
                  <a:lnTo>
                    <a:pt x="353390" y="301320"/>
                  </a:lnTo>
                  <a:lnTo>
                    <a:pt x="369862" y="301015"/>
                  </a:lnTo>
                  <a:lnTo>
                    <a:pt x="369862" y="171742"/>
                  </a:lnTo>
                  <a:lnTo>
                    <a:pt x="376529" y="170929"/>
                  </a:lnTo>
                  <a:lnTo>
                    <a:pt x="410210" y="142290"/>
                  </a:lnTo>
                  <a:lnTo>
                    <a:pt x="412673" y="133019"/>
                  </a:lnTo>
                  <a:lnTo>
                    <a:pt x="413245" y="131914"/>
                  </a:lnTo>
                  <a:lnTo>
                    <a:pt x="413245" y="55333"/>
                  </a:lnTo>
                  <a:close/>
                </a:path>
              </a:pathLst>
            </a:custGeom>
            <a:solidFill>
              <a:srgbClr val="F72E40"/>
            </a:solidFill>
          </p:spPr>
          <p:txBody>
            <a:bodyPr wrap="square" lIns="0" tIns="0" rIns="0" bIns="0" rtlCol="0"/>
            <a:lstStyle/>
            <a:p>
              <a:endParaRPr sz="2118"/>
            </a:p>
          </p:txBody>
        </p:sp>
        <p:pic>
          <p:nvPicPr>
            <p:cNvPr id="77" name="object 77"/>
            <p:cNvPicPr/>
            <p:nvPr/>
          </p:nvPicPr>
          <p:blipFill>
            <a:blip r:embed="rId40" cstate="print"/>
            <a:stretch>
              <a:fillRect/>
            </a:stretch>
          </p:blipFill>
          <p:spPr>
            <a:xfrm>
              <a:off x="1864531" y="3642855"/>
              <a:ext cx="85979" cy="103032"/>
            </a:xfrm>
            <a:prstGeom prst="rect">
              <a:avLst/>
            </a:prstGeom>
          </p:spPr>
        </p:pic>
        <p:pic>
          <p:nvPicPr>
            <p:cNvPr id="78" name="object 78"/>
            <p:cNvPicPr/>
            <p:nvPr/>
          </p:nvPicPr>
          <p:blipFill>
            <a:blip r:embed="rId41" cstate="print"/>
            <a:stretch>
              <a:fillRect/>
            </a:stretch>
          </p:blipFill>
          <p:spPr>
            <a:xfrm>
              <a:off x="2087498" y="3643760"/>
              <a:ext cx="86646" cy="102227"/>
            </a:xfrm>
            <a:prstGeom prst="rect">
              <a:avLst/>
            </a:prstGeom>
          </p:spPr>
        </p:pic>
        <p:sp>
          <p:nvSpPr>
            <p:cNvPr id="79" name="object 79"/>
            <p:cNvSpPr/>
            <p:nvPr/>
          </p:nvSpPr>
          <p:spPr>
            <a:xfrm>
              <a:off x="2254237" y="3755110"/>
              <a:ext cx="413384" cy="300990"/>
            </a:xfrm>
            <a:custGeom>
              <a:avLst/>
              <a:gdLst/>
              <a:ahLst/>
              <a:cxnLst/>
              <a:rect l="l" t="t" r="r" b="b"/>
              <a:pathLst>
                <a:path w="413385" h="300989">
                  <a:moveTo>
                    <a:pt x="103327" y="163880"/>
                  </a:moveTo>
                  <a:lnTo>
                    <a:pt x="86944" y="163880"/>
                  </a:lnTo>
                  <a:lnTo>
                    <a:pt x="86944" y="300926"/>
                  </a:lnTo>
                  <a:lnTo>
                    <a:pt x="103327" y="300926"/>
                  </a:lnTo>
                  <a:lnTo>
                    <a:pt x="103327" y="163880"/>
                  </a:lnTo>
                  <a:close/>
                </a:path>
                <a:path w="413385" h="300989">
                  <a:moveTo>
                    <a:pt x="240766" y="122262"/>
                  </a:moveTo>
                  <a:lnTo>
                    <a:pt x="240080" y="120103"/>
                  </a:lnTo>
                  <a:lnTo>
                    <a:pt x="238404" y="118249"/>
                  </a:lnTo>
                  <a:lnTo>
                    <a:pt x="212801" y="80060"/>
                  </a:lnTo>
                  <a:lnTo>
                    <a:pt x="186867" y="42176"/>
                  </a:lnTo>
                  <a:lnTo>
                    <a:pt x="156197" y="10972"/>
                  </a:lnTo>
                  <a:lnTo>
                    <a:pt x="116344" y="0"/>
                  </a:lnTo>
                  <a:lnTo>
                    <a:pt x="57048" y="0"/>
                  </a:lnTo>
                  <a:lnTo>
                    <a:pt x="53352" y="393"/>
                  </a:lnTo>
                  <a:lnTo>
                    <a:pt x="49682" y="1155"/>
                  </a:lnTo>
                  <a:lnTo>
                    <a:pt x="42595" y="2451"/>
                  </a:lnTo>
                  <a:lnTo>
                    <a:pt x="9131" y="28105"/>
                  </a:lnTo>
                  <a:lnTo>
                    <a:pt x="0" y="54952"/>
                  </a:lnTo>
                  <a:lnTo>
                    <a:pt x="190" y="62153"/>
                  </a:lnTo>
                  <a:lnTo>
                    <a:pt x="368" y="110007"/>
                  </a:lnTo>
                  <a:lnTo>
                    <a:pt x="190" y="125971"/>
                  </a:lnTo>
                  <a:lnTo>
                    <a:pt x="241" y="130708"/>
                  </a:lnTo>
                  <a:lnTo>
                    <a:pt x="1003" y="135331"/>
                  </a:lnTo>
                  <a:lnTo>
                    <a:pt x="26530" y="167551"/>
                  </a:lnTo>
                  <a:lnTo>
                    <a:pt x="32270" y="169430"/>
                  </a:lnTo>
                  <a:lnTo>
                    <a:pt x="33286" y="170116"/>
                  </a:lnTo>
                  <a:lnTo>
                    <a:pt x="34772" y="172275"/>
                  </a:lnTo>
                  <a:lnTo>
                    <a:pt x="35039" y="173456"/>
                  </a:lnTo>
                  <a:lnTo>
                    <a:pt x="34848" y="174752"/>
                  </a:lnTo>
                  <a:lnTo>
                    <a:pt x="34848" y="300824"/>
                  </a:lnTo>
                  <a:lnTo>
                    <a:pt x="51384" y="300824"/>
                  </a:lnTo>
                  <a:lnTo>
                    <a:pt x="51384" y="74472"/>
                  </a:lnTo>
                  <a:lnTo>
                    <a:pt x="51562" y="73355"/>
                  </a:lnTo>
                  <a:lnTo>
                    <a:pt x="51562" y="72237"/>
                  </a:lnTo>
                  <a:lnTo>
                    <a:pt x="51384" y="71120"/>
                  </a:lnTo>
                  <a:lnTo>
                    <a:pt x="51079" y="70269"/>
                  </a:lnTo>
                  <a:lnTo>
                    <a:pt x="50126" y="69075"/>
                  </a:lnTo>
                  <a:lnTo>
                    <a:pt x="34848" y="69075"/>
                  </a:lnTo>
                  <a:lnTo>
                    <a:pt x="34848" y="152107"/>
                  </a:lnTo>
                  <a:lnTo>
                    <a:pt x="29933" y="150342"/>
                  </a:lnTo>
                  <a:lnTo>
                    <a:pt x="25882" y="147370"/>
                  </a:lnTo>
                  <a:lnTo>
                    <a:pt x="19519" y="139065"/>
                  </a:lnTo>
                  <a:lnTo>
                    <a:pt x="17703" y="134391"/>
                  </a:lnTo>
                  <a:lnTo>
                    <a:pt x="17272" y="129171"/>
                  </a:lnTo>
                  <a:lnTo>
                    <a:pt x="17284" y="55321"/>
                  </a:lnTo>
                  <a:lnTo>
                    <a:pt x="41186" y="20993"/>
                  </a:lnTo>
                  <a:lnTo>
                    <a:pt x="55854" y="16662"/>
                  </a:lnTo>
                  <a:lnTo>
                    <a:pt x="124040" y="16700"/>
                  </a:lnTo>
                  <a:lnTo>
                    <a:pt x="163830" y="39865"/>
                  </a:lnTo>
                  <a:lnTo>
                    <a:pt x="191363" y="77698"/>
                  </a:lnTo>
                  <a:lnTo>
                    <a:pt x="219519" y="119811"/>
                  </a:lnTo>
                  <a:lnTo>
                    <a:pt x="220522" y="122656"/>
                  </a:lnTo>
                  <a:lnTo>
                    <a:pt x="219976" y="123317"/>
                  </a:lnTo>
                  <a:lnTo>
                    <a:pt x="182702" y="112064"/>
                  </a:lnTo>
                  <a:lnTo>
                    <a:pt x="170395" y="99047"/>
                  </a:lnTo>
                  <a:lnTo>
                    <a:pt x="145592" y="73126"/>
                  </a:lnTo>
                  <a:lnTo>
                    <a:pt x="143852" y="71145"/>
                  </a:lnTo>
                  <a:lnTo>
                    <a:pt x="141719" y="69799"/>
                  </a:lnTo>
                  <a:lnTo>
                    <a:pt x="139179" y="69075"/>
                  </a:lnTo>
                  <a:lnTo>
                    <a:pt x="133477" y="68021"/>
                  </a:lnTo>
                  <a:lnTo>
                    <a:pt x="129616" y="72224"/>
                  </a:lnTo>
                  <a:lnTo>
                    <a:pt x="129616" y="300926"/>
                  </a:lnTo>
                  <a:lnTo>
                    <a:pt x="146850" y="300824"/>
                  </a:lnTo>
                  <a:lnTo>
                    <a:pt x="146545" y="298627"/>
                  </a:lnTo>
                  <a:lnTo>
                    <a:pt x="146494" y="101574"/>
                  </a:lnTo>
                  <a:lnTo>
                    <a:pt x="146748" y="100469"/>
                  </a:lnTo>
                  <a:lnTo>
                    <a:pt x="146748" y="99326"/>
                  </a:lnTo>
                  <a:lnTo>
                    <a:pt x="147853" y="98818"/>
                  </a:lnTo>
                  <a:lnTo>
                    <a:pt x="148615" y="99949"/>
                  </a:lnTo>
                  <a:lnTo>
                    <a:pt x="150304" y="102082"/>
                  </a:lnTo>
                  <a:lnTo>
                    <a:pt x="183362" y="137134"/>
                  </a:lnTo>
                  <a:lnTo>
                    <a:pt x="186220" y="140512"/>
                  </a:lnTo>
                  <a:lnTo>
                    <a:pt x="189649" y="143154"/>
                  </a:lnTo>
                  <a:lnTo>
                    <a:pt x="197637" y="146939"/>
                  </a:lnTo>
                  <a:lnTo>
                    <a:pt x="201853" y="147929"/>
                  </a:lnTo>
                  <a:lnTo>
                    <a:pt x="210693" y="148082"/>
                  </a:lnTo>
                  <a:lnTo>
                    <a:pt x="214934" y="147243"/>
                  </a:lnTo>
                  <a:lnTo>
                    <a:pt x="223050" y="143725"/>
                  </a:lnTo>
                  <a:lnTo>
                    <a:pt x="226568" y="141211"/>
                  </a:lnTo>
                  <a:lnTo>
                    <a:pt x="229539" y="137934"/>
                  </a:lnTo>
                  <a:lnTo>
                    <a:pt x="237007" y="130581"/>
                  </a:lnTo>
                  <a:lnTo>
                    <a:pt x="239052" y="129146"/>
                  </a:lnTo>
                  <a:lnTo>
                    <a:pt x="240207" y="127203"/>
                  </a:lnTo>
                  <a:lnTo>
                    <a:pt x="240766" y="122262"/>
                  </a:lnTo>
                  <a:close/>
                </a:path>
                <a:path w="413385" h="300989">
                  <a:moveTo>
                    <a:pt x="275336" y="76136"/>
                  </a:moveTo>
                  <a:lnTo>
                    <a:pt x="274929" y="74295"/>
                  </a:lnTo>
                  <a:lnTo>
                    <a:pt x="272783" y="70904"/>
                  </a:lnTo>
                  <a:lnTo>
                    <a:pt x="271284" y="69735"/>
                  </a:lnTo>
                  <a:lnTo>
                    <a:pt x="267462" y="68516"/>
                  </a:lnTo>
                  <a:lnTo>
                    <a:pt x="265569" y="68580"/>
                  </a:lnTo>
                  <a:lnTo>
                    <a:pt x="261848" y="70091"/>
                  </a:lnTo>
                  <a:lnTo>
                    <a:pt x="260438" y="71348"/>
                  </a:lnTo>
                  <a:lnTo>
                    <a:pt x="259499" y="73126"/>
                  </a:lnTo>
                  <a:lnTo>
                    <a:pt x="255562" y="78206"/>
                  </a:lnTo>
                  <a:lnTo>
                    <a:pt x="234607" y="106286"/>
                  </a:lnTo>
                  <a:lnTo>
                    <a:pt x="247827" y="116306"/>
                  </a:lnTo>
                  <a:lnTo>
                    <a:pt x="257835" y="103479"/>
                  </a:lnTo>
                  <a:lnTo>
                    <a:pt x="258737" y="103974"/>
                  </a:lnTo>
                  <a:lnTo>
                    <a:pt x="258737" y="300926"/>
                  </a:lnTo>
                  <a:lnTo>
                    <a:pt x="275069" y="300774"/>
                  </a:lnTo>
                  <a:lnTo>
                    <a:pt x="275069" y="78130"/>
                  </a:lnTo>
                  <a:lnTo>
                    <a:pt x="275336" y="76136"/>
                  </a:lnTo>
                  <a:close/>
                </a:path>
                <a:path w="413385" h="300989">
                  <a:moveTo>
                    <a:pt x="327063" y="163880"/>
                  </a:moveTo>
                  <a:lnTo>
                    <a:pt x="310578" y="163880"/>
                  </a:lnTo>
                  <a:lnTo>
                    <a:pt x="310578" y="300926"/>
                  </a:lnTo>
                  <a:lnTo>
                    <a:pt x="327063" y="300926"/>
                  </a:lnTo>
                  <a:lnTo>
                    <a:pt x="327063" y="163880"/>
                  </a:lnTo>
                  <a:close/>
                </a:path>
                <a:path w="413385" h="300989">
                  <a:moveTo>
                    <a:pt x="413308" y="55397"/>
                  </a:moveTo>
                  <a:lnTo>
                    <a:pt x="412965" y="54597"/>
                  </a:lnTo>
                  <a:lnTo>
                    <a:pt x="412508" y="52946"/>
                  </a:lnTo>
                  <a:lnTo>
                    <a:pt x="411530" y="45631"/>
                  </a:lnTo>
                  <a:lnTo>
                    <a:pt x="409308" y="38722"/>
                  </a:lnTo>
                  <a:lnTo>
                    <a:pt x="380555" y="6565"/>
                  </a:lnTo>
                  <a:lnTo>
                    <a:pt x="290207" y="12"/>
                  </a:lnTo>
                  <a:lnTo>
                    <a:pt x="286359" y="393"/>
                  </a:lnTo>
                  <a:lnTo>
                    <a:pt x="248094" y="20294"/>
                  </a:lnTo>
                  <a:lnTo>
                    <a:pt x="218020" y="63055"/>
                  </a:lnTo>
                  <a:lnTo>
                    <a:pt x="218020" y="63957"/>
                  </a:lnTo>
                  <a:lnTo>
                    <a:pt x="231000" y="72872"/>
                  </a:lnTo>
                  <a:lnTo>
                    <a:pt x="231902" y="71678"/>
                  </a:lnTo>
                  <a:lnTo>
                    <a:pt x="232651" y="70827"/>
                  </a:lnTo>
                  <a:lnTo>
                    <a:pt x="257517" y="35090"/>
                  </a:lnTo>
                  <a:lnTo>
                    <a:pt x="292900" y="16725"/>
                  </a:lnTo>
                  <a:lnTo>
                    <a:pt x="355193" y="16751"/>
                  </a:lnTo>
                  <a:lnTo>
                    <a:pt x="389382" y="36817"/>
                  </a:lnTo>
                  <a:lnTo>
                    <a:pt x="396341" y="56464"/>
                  </a:lnTo>
                  <a:lnTo>
                    <a:pt x="395960" y="78066"/>
                  </a:lnTo>
                  <a:lnTo>
                    <a:pt x="395859" y="94361"/>
                  </a:lnTo>
                  <a:lnTo>
                    <a:pt x="395960" y="110629"/>
                  </a:lnTo>
                  <a:lnTo>
                    <a:pt x="396278" y="126873"/>
                  </a:lnTo>
                  <a:lnTo>
                    <a:pt x="395998" y="133210"/>
                  </a:lnTo>
                  <a:lnTo>
                    <a:pt x="370141" y="154965"/>
                  </a:lnTo>
                  <a:lnTo>
                    <a:pt x="369836" y="153111"/>
                  </a:lnTo>
                  <a:lnTo>
                    <a:pt x="369836" y="71120"/>
                  </a:lnTo>
                  <a:lnTo>
                    <a:pt x="368935" y="69075"/>
                  </a:lnTo>
                  <a:lnTo>
                    <a:pt x="353352" y="69075"/>
                  </a:lnTo>
                  <a:lnTo>
                    <a:pt x="353352" y="300926"/>
                  </a:lnTo>
                  <a:lnTo>
                    <a:pt x="369938" y="300926"/>
                  </a:lnTo>
                  <a:lnTo>
                    <a:pt x="369938" y="171792"/>
                  </a:lnTo>
                  <a:lnTo>
                    <a:pt x="376605" y="170992"/>
                  </a:lnTo>
                  <a:lnTo>
                    <a:pt x="410298" y="142367"/>
                  </a:lnTo>
                  <a:lnTo>
                    <a:pt x="412737" y="133083"/>
                  </a:lnTo>
                  <a:lnTo>
                    <a:pt x="413308" y="131978"/>
                  </a:lnTo>
                  <a:lnTo>
                    <a:pt x="413308" y="55397"/>
                  </a:lnTo>
                  <a:close/>
                </a:path>
              </a:pathLst>
            </a:custGeom>
            <a:solidFill>
              <a:srgbClr val="F72E40"/>
            </a:solidFill>
          </p:spPr>
          <p:txBody>
            <a:bodyPr wrap="square" lIns="0" tIns="0" rIns="0" bIns="0" rtlCol="0"/>
            <a:lstStyle/>
            <a:p>
              <a:endParaRPr sz="2118"/>
            </a:p>
          </p:txBody>
        </p:sp>
        <p:pic>
          <p:nvPicPr>
            <p:cNvPr id="80" name="object 80"/>
            <p:cNvPicPr/>
            <p:nvPr/>
          </p:nvPicPr>
          <p:blipFill>
            <a:blip r:embed="rId11" cstate="print"/>
            <a:stretch>
              <a:fillRect/>
            </a:stretch>
          </p:blipFill>
          <p:spPr>
            <a:xfrm>
              <a:off x="2306726" y="3642855"/>
              <a:ext cx="85900" cy="103032"/>
            </a:xfrm>
            <a:prstGeom prst="rect">
              <a:avLst/>
            </a:prstGeom>
          </p:spPr>
        </p:pic>
        <p:pic>
          <p:nvPicPr>
            <p:cNvPr id="81" name="object 81"/>
            <p:cNvPicPr/>
            <p:nvPr/>
          </p:nvPicPr>
          <p:blipFill>
            <a:blip r:embed="rId23" cstate="print"/>
            <a:stretch>
              <a:fillRect/>
            </a:stretch>
          </p:blipFill>
          <p:spPr>
            <a:xfrm>
              <a:off x="2529565" y="3643760"/>
              <a:ext cx="86671" cy="102227"/>
            </a:xfrm>
            <a:prstGeom prst="rect">
              <a:avLst/>
            </a:prstGeom>
          </p:spPr>
        </p:pic>
        <p:sp>
          <p:nvSpPr>
            <p:cNvPr id="82" name="object 82"/>
            <p:cNvSpPr/>
            <p:nvPr/>
          </p:nvSpPr>
          <p:spPr>
            <a:xfrm>
              <a:off x="923531" y="4260989"/>
              <a:ext cx="413384" cy="300990"/>
            </a:xfrm>
            <a:custGeom>
              <a:avLst/>
              <a:gdLst/>
              <a:ahLst/>
              <a:cxnLst/>
              <a:rect l="l" t="t" r="r" b="b"/>
              <a:pathLst>
                <a:path w="413384" h="300989">
                  <a:moveTo>
                    <a:pt x="102870" y="163880"/>
                  </a:moveTo>
                  <a:lnTo>
                    <a:pt x="86436" y="163880"/>
                  </a:lnTo>
                  <a:lnTo>
                    <a:pt x="86436" y="300913"/>
                  </a:lnTo>
                  <a:lnTo>
                    <a:pt x="102870" y="300913"/>
                  </a:lnTo>
                  <a:lnTo>
                    <a:pt x="102870" y="163880"/>
                  </a:lnTo>
                  <a:close/>
                </a:path>
                <a:path w="413384" h="300989">
                  <a:moveTo>
                    <a:pt x="240334" y="122301"/>
                  </a:moveTo>
                  <a:lnTo>
                    <a:pt x="239623" y="120142"/>
                  </a:lnTo>
                  <a:lnTo>
                    <a:pt x="237959" y="118300"/>
                  </a:lnTo>
                  <a:lnTo>
                    <a:pt x="212394" y="80111"/>
                  </a:lnTo>
                  <a:lnTo>
                    <a:pt x="186461" y="42214"/>
                  </a:lnTo>
                  <a:lnTo>
                    <a:pt x="155676" y="11125"/>
                  </a:lnTo>
                  <a:lnTo>
                    <a:pt x="116344" y="101"/>
                  </a:lnTo>
                  <a:lnTo>
                    <a:pt x="57048" y="101"/>
                  </a:lnTo>
                  <a:lnTo>
                    <a:pt x="53340" y="482"/>
                  </a:lnTo>
                  <a:lnTo>
                    <a:pt x="49682" y="1244"/>
                  </a:lnTo>
                  <a:lnTo>
                    <a:pt x="42595" y="2552"/>
                  </a:lnTo>
                  <a:lnTo>
                    <a:pt x="9131" y="28206"/>
                  </a:lnTo>
                  <a:lnTo>
                    <a:pt x="0" y="55054"/>
                  </a:lnTo>
                  <a:lnTo>
                    <a:pt x="190" y="62255"/>
                  </a:lnTo>
                  <a:lnTo>
                    <a:pt x="355" y="110109"/>
                  </a:lnTo>
                  <a:lnTo>
                    <a:pt x="190" y="126060"/>
                  </a:lnTo>
                  <a:lnTo>
                    <a:pt x="228" y="130784"/>
                  </a:lnTo>
                  <a:lnTo>
                    <a:pt x="977" y="135394"/>
                  </a:lnTo>
                  <a:lnTo>
                    <a:pt x="26301" y="167538"/>
                  </a:lnTo>
                  <a:lnTo>
                    <a:pt x="32016" y="169430"/>
                  </a:lnTo>
                  <a:lnTo>
                    <a:pt x="33032" y="170116"/>
                  </a:lnTo>
                  <a:lnTo>
                    <a:pt x="34518" y="172262"/>
                  </a:lnTo>
                  <a:lnTo>
                    <a:pt x="34785" y="173456"/>
                  </a:lnTo>
                  <a:lnTo>
                    <a:pt x="34607" y="174752"/>
                  </a:lnTo>
                  <a:lnTo>
                    <a:pt x="34607" y="300824"/>
                  </a:lnTo>
                  <a:lnTo>
                    <a:pt x="50977" y="300824"/>
                  </a:lnTo>
                  <a:lnTo>
                    <a:pt x="50977" y="74472"/>
                  </a:lnTo>
                  <a:lnTo>
                    <a:pt x="51155" y="73355"/>
                  </a:lnTo>
                  <a:lnTo>
                    <a:pt x="51155" y="72237"/>
                  </a:lnTo>
                  <a:lnTo>
                    <a:pt x="50977" y="71120"/>
                  </a:lnTo>
                  <a:lnTo>
                    <a:pt x="50685" y="70269"/>
                  </a:lnTo>
                  <a:lnTo>
                    <a:pt x="49733" y="69062"/>
                  </a:lnTo>
                  <a:lnTo>
                    <a:pt x="34455" y="69062"/>
                  </a:lnTo>
                  <a:lnTo>
                    <a:pt x="34455" y="152107"/>
                  </a:lnTo>
                  <a:lnTo>
                    <a:pt x="29527" y="150342"/>
                  </a:lnTo>
                  <a:lnTo>
                    <a:pt x="25476" y="147370"/>
                  </a:lnTo>
                  <a:lnTo>
                    <a:pt x="19113" y="139065"/>
                  </a:lnTo>
                  <a:lnTo>
                    <a:pt x="17310" y="134391"/>
                  </a:lnTo>
                  <a:lnTo>
                    <a:pt x="16865" y="129171"/>
                  </a:lnTo>
                  <a:lnTo>
                    <a:pt x="16878" y="55308"/>
                  </a:lnTo>
                  <a:lnTo>
                    <a:pt x="40779" y="20993"/>
                  </a:lnTo>
                  <a:lnTo>
                    <a:pt x="55460" y="16662"/>
                  </a:lnTo>
                  <a:lnTo>
                    <a:pt x="123634" y="16700"/>
                  </a:lnTo>
                  <a:lnTo>
                    <a:pt x="163423" y="39865"/>
                  </a:lnTo>
                  <a:lnTo>
                    <a:pt x="190944" y="77698"/>
                  </a:lnTo>
                  <a:lnTo>
                    <a:pt x="219125" y="119811"/>
                  </a:lnTo>
                  <a:lnTo>
                    <a:pt x="220129" y="122656"/>
                  </a:lnTo>
                  <a:lnTo>
                    <a:pt x="219570" y="123317"/>
                  </a:lnTo>
                  <a:lnTo>
                    <a:pt x="182295" y="112064"/>
                  </a:lnTo>
                  <a:lnTo>
                    <a:pt x="169976" y="99047"/>
                  </a:lnTo>
                  <a:lnTo>
                    <a:pt x="145199" y="73126"/>
                  </a:lnTo>
                  <a:lnTo>
                    <a:pt x="143446" y="71145"/>
                  </a:lnTo>
                  <a:lnTo>
                    <a:pt x="141312" y="69799"/>
                  </a:lnTo>
                  <a:lnTo>
                    <a:pt x="138785" y="69062"/>
                  </a:lnTo>
                  <a:lnTo>
                    <a:pt x="133070" y="68021"/>
                  </a:lnTo>
                  <a:lnTo>
                    <a:pt x="129209" y="72224"/>
                  </a:lnTo>
                  <a:lnTo>
                    <a:pt x="129209" y="300913"/>
                  </a:lnTo>
                  <a:lnTo>
                    <a:pt x="146697" y="300863"/>
                  </a:lnTo>
                  <a:lnTo>
                    <a:pt x="146392" y="298678"/>
                  </a:lnTo>
                  <a:lnTo>
                    <a:pt x="146342" y="99364"/>
                  </a:lnTo>
                  <a:lnTo>
                    <a:pt x="147447" y="98869"/>
                  </a:lnTo>
                  <a:lnTo>
                    <a:pt x="148209" y="99999"/>
                  </a:lnTo>
                  <a:lnTo>
                    <a:pt x="149898" y="102120"/>
                  </a:lnTo>
                  <a:lnTo>
                    <a:pt x="158153" y="110959"/>
                  </a:lnTo>
                  <a:lnTo>
                    <a:pt x="182956" y="137185"/>
                  </a:lnTo>
                  <a:lnTo>
                    <a:pt x="185801" y="140563"/>
                  </a:lnTo>
                  <a:lnTo>
                    <a:pt x="189230" y="143205"/>
                  </a:lnTo>
                  <a:lnTo>
                    <a:pt x="197218" y="147015"/>
                  </a:lnTo>
                  <a:lnTo>
                    <a:pt x="201422" y="148005"/>
                  </a:lnTo>
                  <a:lnTo>
                    <a:pt x="210261" y="148158"/>
                  </a:lnTo>
                  <a:lnTo>
                    <a:pt x="214503" y="147307"/>
                  </a:lnTo>
                  <a:lnTo>
                    <a:pt x="222618" y="143789"/>
                  </a:lnTo>
                  <a:lnTo>
                    <a:pt x="226123" y="141274"/>
                  </a:lnTo>
                  <a:lnTo>
                    <a:pt x="229095" y="137985"/>
                  </a:lnTo>
                  <a:lnTo>
                    <a:pt x="231597" y="135636"/>
                  </a:lnTo>
                  <a:lnTo>
                    <a:pt x="236601" y="130619"/>
                  </a:lnTo>
                  <a:lnTo>
                    <a:pt x="238633" y="129197"/>
                  </a:lnTo>
                  <a:lnTo>
                    <a:pt x="239788" y="127241"/>
                  </a:lnTo>
                  <a:lnTo>
                    <a:pt x="240334" y="122301"/>
                  </a:lnTo>
                  <a:close/>
                </a:path>
                <a:path w="413384" h="300989">
                  <a:moveTo>
                    <a:pt x="274929" y="76136"/>
                  </a:moveTo>
                  <a:lnTo>
                    <a:pt x="274523" y="74295"/>
                  </a:lnTo>
                  <a:lnTo>
                    <a:pt x="272376" y="70891"/>
                  </a:lnTo>
                  <a:lnTo>
                    <a:pt x="270878" y="69735"/>
                  </a:lnTo>
                  <a:lnTo>
                    <a:pt x="267055" y="68503"/>
                  </a:lnTo>
                  <a:lnTo>
                    <a:pt x="265163" y="68580"/>
                  </a:lnTo>
                  <a:lnTo>
                    <a:pt x="261442" y="70091"/>
                  </a:lnTo>
                  <a:lnTo>
                    <a:pt x="260032" y="71348"/>
                  </a:lnTo>
                  <a:lnTo>
                    <a:pt x="259092" y="73126"/>
                  </a:lnTo>
                  <a:lnTo>
                    <a:pt x="255155" y="78206"/>
                  </a:lnTo>
                  <a:lnTo>
                    <a:pt x="234200" y="106286"/>
                  </a:lnTo>
                  <a:lnTo>
                    <a:pt x="247421" y="116293"/>
                  </a:lnTo>
                  <a:lnTo>
                    <a:pt x="257441" y="103479"/>
                  </a:lnTo>
                  <a:lnTo>
                    <a:pt x="258343" y="103974"/>
                  </a:lnTo>
                  <a:lnTo>
                    <a:pt x="258343" y="300913"/>
                  </a:lnTo>
                  <a:lnTo>
                    <a:pt x="274662" y="300774"/>
                  </a:lnTo>
                  <a:lnTo>
                    <a:pt x="274662" y="78130"/>
                  </a:lnTo>
                  <a:lnTo>
                    <a:pt x="274929" y="76136"/>
                  </a:lnTo>
                  <a:close/>
                </a:path>
                <a:path w="413384" h="300989">
                  <a:moveTo>
                    <a:pt x="326656" y="163880"/>
                  </a:moveTo>
                  <a:lnTo>
                    <a:pt x="310184" y="163880"/>
                  </a:lnTo>
                  <a:lnTo>
                    <a:pt x="310184" y="300913"/>
                  </a:lnTo>
                  <a:lnTo>
                    <a:pt x="326656" y="300913"/>
                  </a:lnTo>
                  <a:lnTo>
                    <a:pt x="326656" y="163880"/>
                  </a:lnTo>
                  <a:close/>
                </a:path>
                <a:path w="413384" h="300989">
                  <a:moveTo>
                    <a:pt x="413004" y="55346"/>
                  </a:moveTo>
                  <a:lnTo>
                    <a:pt x="412661" y="54546"/>
                  </a:lnTo>
                  <a:lnTo>
                    <a:pt x="412203" y="52895"/>
                  </a:lnTo>
                  <a:lnTo>
                    <a:pt x="411226" y="45567"/>
                  </a:lnTo>
                  <a:lnTo>
                    <a:pt x="408990" y="38658"/>
                  </a:lnTo>
                  <a:lnTo>
                    <a:pt x="380149" y="6515"/>
                  </a:lnTo>
                  <a:lnTo>
                    <a:pt x="359181" y="0"/>
                  </a:lnTo>
                  <a:lnTo>
                    <a:pt x="289763" y="12"/>
                  </a:lnTo>
                  <a:lnTo>
                    <a:pt x="252501" y="15786"/>
                  </a:lnTo>
                  <a:lnTo>
                    <a:pt x="228244" y="46697"/>
                  </a:lnTo>
                  <a:lnTo>
                    <a:pt x="217563" y="63055"/>
                  </a:lnTo>
                  <a:lnTo>
                    <a:pt x="217563" y="63957"/>
                  </a:lnTo>
                  <a:lnTo>
                    <a:pt x="230543" y="72872"/>
                  </a:lnTo>
                  <a:lnTo>
                    <a:pt x="232791" y="69913"/>
                  </a:lnTo>
                  <a:lnTo>
                    <a:pt x="243890" y="52755"/>
                  </a:lnTo>
                  <a:lnTo>
                    <a:pt x="252196" y="40932"/>
                  </a:lnTo>
                  <a:lnTo>
                    <a:pt x="283908" y="17564"/>
                  </a:lnTo>
                  <a:lnTo>
                    <a:pt x="292442" y="16725"/>
                  </a:lnTo>
                  <a:lnTo>
                    <a:pt x="354774" y="16738"/>
                  </a:lnTo>
                  <a:lnTo>
                    <a:pt x="388962" y="36804"/>
                  </a:lnTo>
                  <a:lnTo>
                    <a:pt x="395935" y="56464"/>
                  </a:lnTo>
                  <a:lnTo>
                    <a:pt x="395579" y="78066"/>
                  </a:lnTo>
                  <a:lnTo>
                    <a:pt x="395478" y="94361"/>
                  </a:lnTo>
                  <a:lnTo>
                    <a:pt x="395579" y="110629"/>
                  </a:lnTo>
                  <a:lnTo>
                    <a:pt x="395884" y="126873"/>
                  </a:lnTo>
                  <a:lnTo>
                    <a:pt x="395605" y="133210"/>
                  </a:lnTo>
                  <a:lnTo>
                    <a:pt x="369735" y="154965"/>
                  </a:lnTo>
                  <a:lnTo>
                    <a:pt x="369430" y="153111"/>
                  </a:lnTo>
                  <a:lnTo>
                    <a:pt x="369430" y="71120"/>
                  </a:lnTo>
                  <a:lnTo>
                    <a:pt x="368528" y="69062"/>
                  </a:lnTo>
                  <a:lnTo>
                    <a:pt x="352958" y="69062"/>
                  </a:lnTo>
                  <a:lnTo>
                    <a:pt x="352958" y="300913"/>
                  </a:lnTo>
                  <a:lnTo>
                    <a:pt x="369633" y="300875"/>
                  </a:lnTo>
                  <a:lnTo>
                    <a:pt x="369633" y="171742"/>
                  </a:lnTo>
                  <a:lnTo>
                    <a:pt x="376301" y="170929"/>
                  </a:lnTo>
                  <a:lnTo>
                    <a:pt x="409994" y="142316"/>
                  </a:lnTo>
                  <a:lnTo>
                    <a:pt x="412432" y="133032"/>
                  </a:lnTo>
                  <a:lnTo>
                    <a:pt x="413004" y="131927"/>
                  </a:lnTo>
                  <a:lnTo>
                    <a:pt x="413004" y="55346"/>
                  </a:lnTo>
                  <a:close/>
                </a:path>
              </a:pathLst>
            </a:custGeom>
            <a:solidFill>
              <a:srgbClr val="F72E40"/>
            </a:solidFill>
          </p:spPr>
          <p:txBody>
            <a:bodyPr wrap="square" lIns="0" tIns="0" rIns="0" bIns="0" rtlCol="0"/>
            <a:lstStyle/>
            <a:p>
              <a:endParaRPr sz="2118"/>
            </a:p>
          </p:txBody>
        </p:sp>
        <p:pic>
          <p:nvPicPr>
            <p:cNvPr id="83" name="object 83"/>
            <p:cNvPicPr/>
            <p:nvPr/>
          </p:nvPicPr>
          <p:blipFill>
            <a:blip r:embed="rId15" cstate="print"/>
            <a:stretch>
              <a:fillRect/>
            </a:stretch>
          </p:blipFill>
          <p:spPr>
            <a:xfrm>
              <a:off x="975489" y="4148732"/>
              <a:ext cx="86029" cy="103032"/>
            </a:xfrm>
            <a:prstGeom prst="rect">
              <a:avLst/>
            </a:prstGeom>
          </p:spPr>
        </p:pic>
        <p:pic>
          <p:nvPicPr>
            <p:cNvPr id="84" name="object 84"/>
            <p:cNvPicPr/>
            <p:nvPr/>
          </p:nvPicPr>
          <p:blipFill>
            <a:blip r:embed="rId42" cstate="print"/>
            <a:stretch>
              <a:fillRect/>
            </a:stretch>
          </p:blipFill>
          <p:spPr>
            <a:xfrm>
              <a:off x="1198406" y="4149638"/>
              <a:ext cx="86716" cy="102227"/>
            </a:xfrm>
            <a:prstGeom prst="rect">
              <a:avLst/>
            </a:prstGeom>
          </p:spPr>
        </p:pic>
        <p:sp>
          <p:nvSpPr>
            <p:cNvPr id="85" name="object 85"/>
            <p:cNvSpPr/>
            <p:nvPr/>
          </p:nvSpPr>
          <p:spPr>
            <a:xfrm>
              <a:off x="1365402" y="4260989"/>
              <a:ext cx="413384" cy="300990"/>
            </a:xfrm>
            <a:custGeom>
              <a:avLst/>
              <a:gdLst/>
              <a:ahLst/>
              <a:cxnLst/>
              <a:rect l="l" t="t" r="r" b="b"/>
              <a:pathLst>
                <a:path w="413385" h="300989">
                  <a:moveTo>
                    <a:pt x="103009" y="163880"/>
                  </a:moveTo>
                  <a:lnTo>
                    <a:pt x="86588" y="163880"/>
                  </a:lnTo>
                  <a:lnTo>
                    <a:pt x="86588" y="300913"/>
                  </a:lnTo>
                  <a:lnTo>
                    <a:pt x="103009" y="300913"/>
                  </a:lnTo>
                  <a:lnTo>
                    <a:pt x="103009" y="163880"/>
                  </a:lnTo>
                  <a:close/>
                </a:path>
                <a:path w="413385" h="300989">
                  <a:moveTo>
                    <a:pt x="240106" y="122212"/>
                  </a:moveTo>
                  <a:lnTo>
                    <a:pt x="239420" y="120053"/>
                  </a:lnTo>
                  <a:lnTo>
                    <a:pt x="237744" y="118198"/>
                  </a:lnTo>
                  <a:lnTo>
                    <a:pt x="212153" y="80010"/>
                  </a:lnTo>
                  <a:lnTo>
                    <a:pt x="186207" y="42125"/>
                  </a:lnTo>
                  <a:lnTo>
                    <a:pt x="155676" y="11010"/>
                  </a:lnTo>
                  <a:lnTo>
                    <a:pt x="116344" y="0"/>
                  </a:lnTo>
                  <a:lnTo>
                    <a:pt x="57086" y="0"/>
                  </a:lnTo>
                  <a:lnTo>
                    <a:pt x="53352" y="393"/>
                  </a:lnTo>
                  <a:lnTo>
                    <a:pt x="49669" y="1155"/>
                  </a:lnTo>
                  <a:lnTo>
                    <a:pt x="42595" y="2451"/>
                  </a:lnTo>
                  <a:lnTo>
                    <a:pt x="9131" y="28117"/>
                  </a:lnTo>
                  <a:lnTo>
                    <a:pt x="0" y="54952"/>
                  </a:lnTo>
                  <a:lnTo>
                    <a:pt x="190" y="62153"/>
                  </a:lnTo>
                  <a:lnTo>
                    <a:pt x="330" y="110007"/>
                  </a:lnTo>
                  <a:lnTo>
                    <a:pt x="190" y="125971"/>
                  </a:lnTo>
                  <a:lnTo>
                    <a:pt x="228" y="130708"/>
                  </a:lnTo>
                  <a:lnTo>
                    <a:pt x="977" y="135331"/>
                  </a:lnTo>
                  <a:lnTo>
                    <a:pt x="26479" y="167551"/>
                  </a:lnTo>
                  <a:lnTo>
                    <a:pt x="32219" y="169430"/>
                  </a:lnTo>
                  <a:lnTo>
                    <a:pt x="33223" y="170116"/>
                  </a:lnTo>
                  <a:lnTo>
                    <a:pt x="34709" y="172262"/>
                  </a:lnTo>
                  <a:lnTo>
                    <a:pt x="34988" y="173456"/>
                  </a:lnTo>
                  <a:lnTo>
                    <a:pt x="34798" y="174752"/>
                  </a:lnTo>
                  <a:lnTo>
                    <a:pt x="34798" y="300824"/>
                  </a:lnTo>
                  <a:lnTo>
                    <a:pt x="50977" y="300824"/>
                  </a:lnTo>
                  <a:lnTo>
                    <a:pt x="50977" y="74472"/>
                  </a:lnTo>
                  <a:lnTo>
                    <a:pt x="51155" y="73355"/>
                  </a:lnTo>
                  <a:lnTo>
                    <a:pt x="51155" y="72237"/>
                  </a:lnTo>
                  <a:lnTo>
                    <a:pt x="50977" y="71120"/>
                  </a:lnTo>
                  <a:lnTo>
                    <a:pt x="50723" y="70269"/>
                  </a:lnTo>
                  <a:lnTo>
                    <a:pt x="49771" y="69062"/>
                  </a:lnTo>
                  <a:lnTo>
                    <a:pt x="34442" y="69062"/>
                  </a:lnTo>
                  <a:lnTo>
                    <a:pt x="34442" y="152107"/>
                  </a:lnTo>
                  <a:lnTo>
                    <a:pt x="29527" y="150329"/>
                  </a:lnTo>
                  <a:lnTo>
                    <a:pt x="25488" y="147370"/>
                  </a:lnTo>
                  <a:lnTo>
                    <a:pt x="19138" y="139065"/>
                  </a:lnTo>
                  <a:lnTo>
                    <a:pt x="17335" y="134378"/>
                  </a:lnTo>
                  <a:lnTo>
                    <a:pt x="16916" y="129171"/>
                  </a:lnTo>
                  <a:lnTo>
                    <a:pt x="16916" y="55308"/>
                  </a:lnTo>
                  <a:lnTo>
                    <a:pt x="40843" y="20993"/>
                  </a:lnTo>
                  <a:lnTo>
                    <a:pt x="55499" y="16662"/>
                  </a:lnTo>
                  <a:lnTo>
                    <a:pt x="123710" y="16700"/>
                  </a:lnTo>
                  <a:lnTo>
                    <a:pt x="163474" y="39865"/>
                  </a:lnTo>
                  <a:lnTo>
                    <a:pt x="191033" y="77698"/>
                  </a:lnTo>
                  <a:lnTo>
                    <a:pt x="219925" y="120904"/>
                  </a:lnTo>
                  <a:lnTo>
                    <a:pt x="220078" y="122072"/>
                  </a:lnTo>
                  <a:lnTo>
                    <a:pt x="219671" y="123317"/>
                  </a:lnTo>
                  <a:lnTo>
                    <a:pt x="182422" y="112064"/>
                  </a:lnTo>
                  <a:lnTo>
                    <a:pt x="170103" y="99047"/>
                  </a:lnTo>
                  <a:lnTo>
                    <a:pt x="145288" y="73126"/>
                  </a:lnTo>
                  <a:lnTo>
                    <a:pt x="143548" y="71145"/>
                  </a:lnTo>
                  <a:lnTo>
                    <a:pt x="141414" y="69799"/>
                  </a:lnTo>
                  <a:lnTo>
                    <a:pt x="138874" y="69062"/>
                  </a:lnTo>
                  <a:lnTo>
                    <a:pt x="133172" y="68021"/>
                  </a:lnTo>
                  <a:lnTo>
                    <a:pt x="129311" y="72224"/>
                  </a:lnTo>
                  <a:lnTo>
                    <a:pt x="129311" y="300913"/>
                  </a:lnTo>
                  <a:lnTo>
                    <a:pt x="146443" y="300774"/>
                  </a:lnTo>
                  <a:lnTo>
                    <a:pt x="146088" y="299669"/>
                  </a:lnTo>
                  <a:lnTo>
                    <a:pt x="146088" y="99275"/>
                  </a:lnTo>
                  <a:lnTo>
                    <a:pt x="147193" y="98767"/>
                  </a:lnTo>
                  <a:lnTo>
                    <a:pt x="147967" y="99898"/>
                  </a:lnTo>
                  <a:lnTo>
                    <a:pt x="149694" y="102019"/>
                  </a:lnTo>
                  <a:lnTo>
                    <a:pt x="157924" y="110832"/>
                  </a:lnTo>
                  <a:lnTo>
                    <a:pt x="182753" y="137083"/>
                  </a:lnTo>
                  <a:lnTo>
                    <a:pt x="185597" y="140474"/>
                  </a:lnTo>
                  <a:lnTo>
                    <a:pt x="189026" y="143116"/>
                  </a:lnTo>
                  <a:lnTo>
                    <a:pt x="197002" y="146913"/>
                  </a:lnTo>
                  <a:lnTo>
                    <a:pt x="201218" y="147904"/>
                  </a:lnTo>
                  <a:lnTo>
                    <a:pt x="210058" y="148056"/>
                  </a:lnTo>
                  <a:lnTo>
                    <a:pt x="214299" y="147218"/>
                  </a:lnTo>
                  <a:lnTo>
                    <a:pt x="222415" y="143687"/>
                  </a:lnTo>
                  <a:lnTo>
                    <a:pt x="225920" y="141173"/>
                  </a:lnTo>
                  <a:lnTo>
                    <a:pt x="228879" y="137883"/>
                  </a:lnTo>
                  <a:lnTo>
                    <a:pt x="236347" y="130517"/>
                  </a:lnTo>
                  <a:lnTo>
                    <a:pt x="238391" y="129095"/>
                  </a:lnTo>
                  <a:lnTo>
                    <a:pt x="239547" y="127152"/>
                  </a:lnTo>
                  <a:lnTo>
                    <a:pt x="240106" y="122212"/>
                  </a:lnTo>
                  <a:close/>
                </a:path>
                <a:path w="413385" h="300989">
                  <a:moveTo>
                    <a:pt x="275031" y="76136"/>
                  </a:moveTo>
                  <a:lnTo>
                    <a:pt x="274624" y="74295"/>
                  </a:lnTo>
                  <a:lnTo>
                    <a:pt x="272478" y="70891"/>
                  </a:lnTo>
                  <a:lnTo>
                    <a:pt x="270979" y="69735"/>
                  </a:lnTo>
                  <a:lnTo>
                    <a:pt x="267157" y="68503"/>
                  </a:lnTo>
                  <a:lnTo>
                    <a:pt x="265264" y="68580"/>
                  </a:lnTo>
                  <a:lnTo>
                    <a:pt x="261543" y="70091"/>
                  </a:lnTo>
                  <a:lnTo>
                    <a:pt x="260134" y="71348"/>
                  </a:lnTo>
                  <a:lnTo>
                    <a:pt x="259181" y="73126"/>
                  </a:lnTo>
                  <a:lnTo>
                    <a:pt x="255257" y="78206"/>
                  </a:lnTo>
                  <a:lnTo>
                    <a:pt x="234289" y="106286"/>
                  </a:lnTo>
                  <a:lnTo>
                    <a:pt x="247561" y="116293"/>
                  </a:lnTo>
                  <a:lnTo>
                    <a:pt x="257581" y="103479"/>
                  </a:lnTo>
                  <a:lnTo>
                    <a:pt x="258533" y="103974"/>
                  </a:lnTo>
                  <a:lnTo>
                    <a:pt x="258533" y="300913"/>
                  </a:lnTo>
                  <a:lnTo>
                    <a:pt x="274764" y="300964"/>
                  </a:lnTo>
                  <a:lnTo>
                    <a:pt x="274764" y="78130"/>
                  </a:lnTo>
                  <a:lnTo>
                    <a:pt x="275031" y="76136"/>
                  </a:lnTo>
                  <a:close/>
                </a:path>
                <a:path w="413385" h="300989">
                  <a:moveTo>
                    <a:pt x="326859" y="163880"/>
                  </a:moveTo>
                  <a:lnTo>
                    <a:pt x="310324" y="163880"/>
                  </a:lnTo>
                  <a:lnTo>
                    <a:pt x="310324" y="300913"/>
                  </a:lnTo>
                  <a:lnTo>
                    <a:pt x="326859" y="300913"/>
                  </a:lnTo>
                  <a:lnTo>
                    <a:pt x="326859" y="163880"/>
                  </a:lnTo>
                  <a:close/>
                </a:path>
                <a:path w="413385" h="300989">
                  <a:moveTo>
                    <a:pt x="413207" y="55346"/>
                  </a:moveTo>
                  <a:lnTo>
                    <a:pt x="412838" y="54546"/>
                  </a:lnTo>
                  <a:lnTo>
                    <a:pt x="412356" y="52895"/>
                  </a:lnTo>
                  <a:lnTo>
                    <a:pt x="411378" y="45567"/>
                  </a:lnTo>
                  <a:lnTo>
                    <a:pt x="409143" y="38658"/>
                  </a:lnTo>
                  <a:lnTo>
                    <a:pt x="380301" y="6502"/>
                  </a:lnTo>
                  <a:lnTo>
                    <a:pt x="359333" y="0"/>
                  </a:lnTo>
                  <a:lnTo>
                    <a:pt x="289915" y="0"/>
                  </a:lnTo>
                  <a:lnTo>
                    <a:pt x="252666" y="15786"/>
                  </a:lnTo>
                  <a:lnTo>
                    <a:pt x="228422" y="46697"/>
                  </a:lnTo>
                  <a:lnTo>
                    <a:pt x="217766" y="63055"/>
                  </a:lnTo>
                  <a:lnTo>
                    <a:pt x="217766" y="63957"/>
                  </a:lnTo>
                  <a:lnTo>
                    <a:pt x="230784" y="72872"/>
                  </a:lnTo>
                  <a:lnTo>
                    <a:pt x="232384" y="70815"/>
                  </a:lnTo>
                  <a:lnTo>
                    <a:pt x="244106" y="52755"/>
                  </a:lnTo>
                  <a:lnTo>
                    <a:pt x="252399" y="40932"/>
                  </a:lnTo>
                  <a:lnTo>
                    <a:pt x="284099" y="17564"/>
                  </a:lnTo>
                  <a:lnTo>
                    <a:pt x="292646" y="16725"/>
                  </a:lnTo>
                  <a:lnTo>
                    <a:pt x="355028" y="16738"/>
                  </a:lnTo>
                  <a:lnTo>
                    <a:pt x="389229" y="36817"/>
                  </a:lnTo>
                  <a:lnTo>
                    <a:pt x="396189" y="56464"/>
                  </a:lnTo>
                  <a:lnTo>
                    <a:pt x="395808" y="78066"/>
                  </a:lnTo>
                  <a:lnTo>
                    <a:pt x="395693" y="94361"/>
                  </a:lnTo>
                  <a:lnTo>
                    <a:pt x="395808" y="110629"/>
                  </a:lnTo>
                  <a:lnTo>
                    <a:pt x="396125" y="126873"/>
                  </a:lnTo>
                  <a:lnTo>
                    <a:pt x="395846" y="133210"/>
                  </a:lnTo>
                  <a:lnTo>
                    <a:pt x="369976" y="154965"/>
                  </a:lnTo>
                  <a:lnTo>
                    <a:pt x="369633" y="153111"/>
                  </a:lnTo>
                  <a:lnTo>
                    <a:pt x="369582" y="71120"/>
                  </a:lnTo>
                  <a:lnTo>
                    <a:pt x="368731" y="69062"/>
                  </a:lnTo>
                  <a:lnTo>
                    <a:pt x="353098" y="69062"/>
                  </a:lnTo>
                  <a:lnTo>
                    <a:pt x="353098" y="300913"/>
                  </a:lnTo>
                  <a:lnTo>
                    <a:pt x="369773" y="300875"/>
                  </a:lnTo>
                  <a:lnTo>
                    <a:pt x="369773" y="171742"/>
                  </a:lnTo>
                  <a:lnTo>
                    <a:pt x="376440" y="170929"/>
                  </a:lnTo>
                  <a:lnTo>
                    <a:pt x="410159" y="142303"/>
                  </a:lnTo>
                  <a:lnTo>
                    <a:pt x="412610" y="133019"/>
                  </a:lnTo>
                  <a:lnTo>
                    <a:pt x="412864" y="132448"/>
                  </a:lnTo>
                  <a:lnTo>
                    <a:pt x="413207" y="131927"/>
                  </a:lnTo>
                  <a:lnTo>
                    <a:pt x="413207" y="55346"/>
                  </a:lnTo>
                  <a:close/>
                </a:path>
              </a:pathLst>
            </a:custGeom>
            <a:solidFill>
              <a:srgbClr val="F72E40"/>
            </a:solidFill>
          </p:spPr>
          <p:txBody>
            <a:bodyPr wrap="square" lIns="0" tIns="0" rIns="0" bIns="0" rtlCol="0"/>
            <a:lstStyle/>
            <a:p>
              <a:endParaRPr sz="2118"/>
            </a:p>
          </p:txBody>
        </p:sp>
        <p:pic>
          <p:nvPicPr>
            <p:cNvPr id="86" name="object 86"/>
            <p:cNvPicPr/>
            <p:nvPr/>
          </p:nvPicPr>
          <p:blipFill>
            <a:blip r:embed="rId18" cstate="print"/>
            <a:stretch>
              <a:fillRect/>
            </a:stretch>
          </p:blipFill>
          <p:spPr>
            <a:xfrm>
              <a:off x="1417641" y="4148732"/>
              <a:ext cx="85894" cy="103032"/>
            </a:xfrm>
            <a:prstGeom prst="rect">
              <a:avLst/>
            </a:prstGeom>
          </p:spPr>
        </p:pic>
        <p:pic>
          <p:nvPicPr>
            <p:cNvPr id="87" name="object 87"/>
            <p:cNvPicPr/>
            <p:nvPr/>
          </p:nvPicPr>
          <p:blipFill>
            <a:blip r:embed="rId43" cstate="print"/>
            <a:stretch>
              <a:fillRect/>
            </a:stretch>
          </p:blipFill>
          <p:spPr>
            <a:xfrm>
              <a:off x="1640472" y="4149638"/>
              <a:ext cx="86796" cy="102227"/>
            </a:xfrm>
            <a:prstGeom prst="rect">
              <a:avLst/>
            </a:prstGeom>
          </p:spPr>
        </p:pic>
        <p:sp>
          <p:nvSpPr>
            <p:cNvPr id="88" name="object 88"/>
            <p:cNvSpPr/>
            <p:nvPr/>
          </p:nvSpPr>
          <p:spPr>
            <a:xfrm>
              <a:off x="1807184" y="4260595"/>
              <a:ext cx="413384" cy="301625"/>
            </a:xfrm>
            <a:custGeom>
              <a:avLst/>
              <a:gdLst/>
              <a:ahLst/>
              <a:cxnLst/>
              <a:rect l="l" t="t" r="r" b="b"/>
              <a:pathLst>
                <a:path w="413385" h="301625">
                  <a:moveTo>
                    <a:pt x="240360" y="122593"/>
                  </a:moveTo>
                  <a:lnTo>
                    <a:pt x="239661" y="120434"/>
                  </a:lnTo>
                  <a:lnTo>
                    <a:pt x="237985" y="118592"/>
                  </a:lnTo>
                  <a:lnTo>
                    <a:pt x="212407" y="80403"/>
                  </a:lnTo>
                  <a:lnTo>
                    <a:pt x="186499" y="42519"/>
                  </a:lnTo>
                  <a:lnTo>
                    <a:pt x="155714" y="11404"/>
                  </a:lnTo>
                  <a:lnTo>
                    <a:pt x="116370" y="393"/>
                  </a:lnTo>
                  <a:lnTo>
                    <a:pt x="57061" y="406"/>
                  </a:lnTo>
                  <a:lnTo>
                    <a:pt x="53340" y="787"/>
                  </a:lnTo>
                  <a:lnTo>
                    <a:pt x="49657" y="1549"/>
                  </a:lnTo>
                  <a:lnTo>
                    <a:pt x="42570" y="2819"/>
                  </a:lnTo>
                  <a:lnTo>
                    <a:pt x="9067" y="28460"/>
                  </a:lnTo>
                  <a:lnTo>
                    <a:pt x="0" y="55346"/>
                  </a:lnTo>
                  <a:lnTo>
                    <a:pt x="215" y="62547"/>
                  </a:lnTo>
                  <a:lnTo>
                    <a:pt x="393" y="110401"/>
                  </a:lnTo>
                  <a:lnTo>
                    <a:pt x="215" y="126365"/>
                  </a:lnTo>
                  <a:lnTo>
                    <a:pt x="266" y="131102"/>
                  </a:lnTo>
                  <a:lnTo>
                    <a:pt x="1016" y="135737"/>
                  </a:lnTo>
                  <a:lnTo>
                    <a:pt x="26555" y="167957"/>
                  </a:lnTo>
                  <a:lnTo>
                    <a:pt x="32296" y="169824"/>
                  </a:lnTo>
                  <a:lnTo>
                    <a:pt x="33312" y="170510"/>
                  </a:lnTo>
                  <a:lnTo>
                    <a:pt x="34798" y="172656"/>
                  </a:lnTo>
                  <a:lnTo>
                    <a:pt x="35064" y="173850"/>
                  </a:lnTo>
                  <a:lnTo>
                    <a:pt x="34886" y="175145"/>
                  </a:lnTo>
                  <a:lnTo>
                    <a:pt x="34886" y="301218"/>
                  </a:lnTo>
                  <a:lnTo>
                    <a:pt x="51409" y="301218"/>
                  </a:lnTo>
                  <a:lnTo>
                    <a:pt x="51409" y="74866"/>
                  </a:lnTo>
                  <a:lnTo>
                    <a:pt x="51562" y="73748"/>
                  </a:lnTo>
                  <a:lnTo>
                    <a:pt x="51562" y="72631"/>
                  </a:lnTo>
                  <a:lnTo>
                    <a:pt x="51409" y="71513"/>
                  </a:lnTo>
                  <a:lnTo>
                    <a:pt x="51104" y="70662"/>
                  </a:lnTo>
                  <a:lnTo>
                    <a:pt x="50152" y="69456"/>
                  </a:lnTo>
                  <a:lnTo>
                    <a:pt x="34886" y="69456"/>
                  </a:lnTo>
                  <a:lnTo>
                    <a:pt x="34886" y="152755"/>
                  </a:lnTo>
                  <a:lnTo>
                    <a:pt x="29959" y="150977"/>
                  </a:lnTo>
                  <a:lnTo>
                    <a:pt x="25908" y="148018"/>
                  </a:lnTo>
                  <a:lnTo>
                    <a:pt x="19545" y="139712"/>
                  </a:lnTo>
                  <a:lnTo>
                    <a:pt x="17729" y="135026"/>
                  </a:lnTo>
                  <a:lnTo>
                    <a:pt x="17297" y="129819"/>
                  </a:lnTo>
                  <a:lnTo>
                    <a:pt x="17310" y="55956"/>
                  </a:lnTo>
                  <a:lnTo>
                    <a:pt x="41186" y="21653"/>
                  </a:lnTo>
                  <a:lnTo>
                    <a:pt x="55841" y="17310"/>
                  </a:lnTo>
                  <a:lnTo>
                    <a:pt x="124066" y="17348"/>
                  </a:lnTo>
                  <a:lnTo>
                    <a:pt x="163804" y="40513"/>
                  </a:lnTo>
                  <a:lnTo>
                    <a:pt x="191363" y="78346"/>
                  </a:lnTo>
                  <a:lnTo>
                    <a:pt x="220256" y="121551"/>
                  </a:lnTo>
                  <a:lnTo>
                    <a:pt x="220408" y="122720"/>
                  </a:lnTo>
                  <a:lnTo>
                    <a:pt x="220002" y="123952"/>
                  </a:lnTo>
                  <a:lnTo>
                    <a:pt x="182727" y="112712"/>
                  </a:lnTo>
                  <a:lnTo>
                    <a:pt x="170408" y="99695"/>
                  </a:lnTo>
                  <a:lnTo>
                    <a:pt x="145618" y="73774"/>
                  </a:lnTo>
                  <a:lnTo>
                    <a:pt x="143878" y="71805"/>
                  </a:lnTo>
                  <a:lnTo>
                    <a:pt x="141732" y="70446"/>
                  </a:lnTo>
                  <a:lnTo>
                    <a:pt x="139217" y="69710"/>
                  </a:lnTo>
                  <a:lnTo>
                    <a:pt x="133451" y="68656"/>
                  </a:lnTo>
                  <a:lnTo>
                    <a:pt x="129641" y="72872"/>
                  </a:lnTo>
                  <a:lnTo>
                    <a:pt x="129641" y="301307"/>
                  </a:lnTo>
                  <a:lnTo>
                    <a:pt x="146431" y="301167"/>
                  </a:lnTo>
                  <a:lnTo>
                    <a:pt x="146329" y="300062"/>
                  </a:lnTo>
                  <a:lnTo>
                    <a:pt x="146075" y="298958"/>
                  </a:lnTo>
                  <a:lnTo>
                    <a:pt x="146075" y="101917"/>
                  </a:lnTo>
                  <a:lnTo>
                    <a:pt x="146329" y="100812"/>
                  </a:lnTo>
                  <a:lnTo>
                    <a:pt x="146329" y="99669"/>
                  </a:lnTo>
                  <a:lnTo>
                    <a:pt x="147472" y="99161"/>
                  </a:lnTo>
                  <a:lnTo>
                    <a:pt x="149047" y="101384"/>
                  </a:lnTo>
                  <a:lnTo>
                    <a:pt x="158191" y="111252"/>
                  </a:lnTo>
                  <a:lnTo>
                    <a:pt x="182994" y="137477"/>
                  </a:lnTo>
                  <a:lnTo>
                    <a:pt x="185839" y="140868"/>
                  </a:lnTo>
                  <a:lnTo>
                    <a:pt x="189255" y="143510"/>
                  </a:lnTo>
                  <a:lnTo>
                    <a:pt x="197243" y="147307"/>
                  </a:lnTo>
                  <a:lnTo>
                    <a:pt x="201447" y="148297"/>
                  </a:lnTo>
                  <a:lnTo>
                    <a:pt x="210286" y="148450"/>
                  </a:lnTo>
                  <a:lnTo>
                    <a:pt x="214528" y="147612"/>
                  </a:lnTo>
                  <a:lnTo>
                    <a:pt x="222643" y="144081"/>
                  </a:lnTo>
                  <a:lnTo>
                    <a:pt x="226148" y="141566"/>
                  </a:lnTo>
                  <a:lnTo>
                    <a:pt x="229120" y="138277"/>
                  </a:lnTo>
                  <a:lnTo>
                    <a:pt x="236626" y="130911"/>
                  </a:lnTo>
                  <a:lnTo>
                    <a:pt x="238671" y="129489"/>
                  </a:lnTo>
                  <a:lnTo>
                    <a:pt x="239814" y="127533"/>
                  </a:lnTo>
                  <a:lnTo>
                    <a:pt x="240360" y="122593"/>
                  </a:lnTo>
                  <a:close/>
                </a:path>
                <a:path w="413385" h="301625">
                  <a:moveTo>
                    <a:pt x="413232" y="55333"/>
                  </a:moveTo>
                  <a:lnTo>
                    <a:pt x="412877" y="54546"/>
                  </a:lnTo>
                  <a:lnTo>
                    <a:pt x="412610" y="53733"/>
                  </a:lnTo>
                  <a:lnTo>
                    <a:pt x="411454" y="45567"/>
                  </a:lnTo>
                  <a:lnTo>
                    <a:pt x="409219" y="38658"/>
                  </a:lnTo>
                  <a:lnTo>
                    <a:pt x="380377" y="6502"/>
                  </a:lnTo>
                  <a:lnTo>
                    <a:pt x="359410" y="0"/>
                  </a:lnTo>
                  <a:lnTo>
                    <a:pt x="289953" y="0"/>
                  </a:lnTo>
                  <a:lnTo>
                    <a:pt x="252704" y="15773"/>
                  </a:lnTo>
                  <a:lnTo>
                    <a:pt x="228473" y="46697"/>
                  </a:lnTo>
                  <a:lnTo>
                    <a:pt x="217805" y="63055"/>
                  </a:lnTo>
                  <a:lnTo>
                    <a:pt x="217805" y="63957"/>
                  </a:lnTo>
                  <a:lnTo>
                    <a:pt x="230822" y="72872"/>
                  </a:lnTo>
                  <a:lnTo>
                    <a:pt x="232422" y="70815"/>
                  </a:lnTo>
                  <a:lnTo>
                    <a:pt x="244373" y="52743"/>
                  </a:lnTo>
                  <a:lnTo>
                    <a:pt x="252666" y="40932"/>
                  </a:lnTo>
                  <a:lnTo>
                    <a:pt x="284340" y="17564"/>
                  </a:lnTo>
                  <a:lnTo>
                    <a:pt x="292874" y="16725"/>
                  </a:lnTo>
                  <a:lnTo>
                    <a:pt x="355193" y="16738"/>
                  </a:lnTo>
                  <a:lnTo>
                    <a:pt x="389394" y="36791"/>
                  </a:lnTo>
                  <a:lnTo>
                    <a:pt x="396367" y="56451"/>
                  </a:lnTo>
                  <a:lnTo>
                    <a:pt x="396024" y="78066"/>
                  </a:lnTo>
                  <a:lnTo>
                    <a:pt x="395935" y="94348"/>
                  </a:lnTo>
                  <a:lnTo>
                    <a:pt x="396024" y="110617"/>
                  </a:lnTo>
                  <a:lnTo>
                    <a:pt x="396303" y="126860"/>
                  </a:lnTo>
                  <a:lnTo>
                    <a:pt x="396036" y="133197"/>
                  </a:lnTo>
                  <a:lnTo>
                    <a:pt x="370166" y="154965"/>
                  </a:lnTo>
                  <a:lnTo>
                    <a:pt x="369862" y="153111"/>
                  </a:lnTo>
                  <a:lnTo>
                    <a:pt x="369862" y="71513"/>
                  </a:lnTo>
                  <a:lnTo>
                    <a:pt x="368960" y="69456"/>
                  </a:lnTo>
                  <a:lnTo>
                    <a:pt x="353390" y="69456"/>
                  </a:lnTo>
                  <a:lnTo>
                    <a:pt x="353390" y="301307"/>
                  </a:lnTo>
                  <a:lnTo>
                    <a:pt x="369862" y="301015"/>
                  </a:lnTo>
                  <a:lnTo>
                    <a:pt x="369862" y="171742"/>
                  </a:lnTo>
                  <a:lnTo>
                    <a:pt x="376529" y="170929"/>
                  </a:lnTo>
                  <a:lnTo>
                    <a:pt x="410210" y="142290"/>
                  </a:lnTo>
                  <a:lnTo>
                    <a:pt x="412661" y="133019"/>
                  </a:lnTo>
                  <a:lnTo>
                    <a:pt x="413232" y="131914"/>
                  </a:lnTo>
                  <a:lnTo>
                    <a:pt x="413232" y="55333"/>
                  </a:lnTo>
                  <a:close/>
                </a:path>
              </a:pathLst>
            </a:custGeom>
            <a:solidFill>
              <a:srgbClr val="F72E40"/>
            </a:solidFill>
          </p:spPr>
          <p:txBody>
            <a:bodyPr wrap="square" lIns="0" tIns="0" rIns="0" bIns="0" rtlCol="0"/>
            <a:lstStyle/>
            <a:p>
              <a:endParaRPr sz="2118"/>
            </a:p>
          </p:txBody>
        </p:sp>
        <p:pic>
          <p:nvPicPr>
            <p:cNvPr id="89" name="object 89"/>
            <p:cNvPicPr/>
            <p:nvPr/>
          </p:nvPicPr>
          <p:blipFill>
            <a:blip r:embed="rId44" cstate="print"/>
            <a:stretch>
              <a:fillRect/>
            </a:stretch>
          </p:blipFill>
          <p:spPr>
            <a:xfrm>
              <a:off x="2696069" y="3637846"/>
              <a:ext cx="849157" cy="418229"/>
            </a:xfrm>
            <a:prstGeom prst="rect">
              <a:avLst/>
            </a:prstGeom>
          </p:spPr>
        </p:pic>
        <p:sp>
          <p:nvSpPr>
            <p:cNvPr id="90" name="object 90"/>
            <p:cNvSpPr/>
            <p:nvPr/>
          </p:nvSpPr>
          <p:spPr>
            <a:xfrm>
              <a:off x="1894001" y="4329620"/>
              <a:ext cx="240665" cy="232410"/>
            </a:xfrm>
            <a:custGeom>
              <a:avLst/>
              <a:gdLst/>
              <a:ahLst/>
              <a:cxnLst/>
              <a:rect l="l" t="t" r="r" b="b"/>
              <a:pathLst>
                <a:path w="240664" h="232410">
                  <a:moveTo>
                    <a:pt x="16433" y="95250"/>
                  </a:moveTo>
                  <a:lnTo>
                    <a:pt x="0" y="95250"/>
                  </a:lnTo>
                  <a:lnTo>
                    <a:pt x="0" y="232283"/>
                  </a:lnTo>
                  <a:lnTo>
                    <a:pt x="16433" y="232283"/>
                  </a:lnTo>
                  <a:lnTo>
                    <a:pt x="16433" y="95250"/>
                  </a:lnTo>
                  <a:close/>
                </a:path>
                <a:path w="240664" h="232410">
                  <a:moveTo>
                    <a:pt x="188417" y="7531"/>
                  </a:moveTo>
                  <a:lnTo>
                    <a:pt x="187998" y="5702"/>
                  </a:lnTo>
                  <a:lnTo>
                    <a:pt x="185851" y="2362"/>
                  </a:lnTo>
                  <a:lnTo>
                    <a:pt x="184365" y="1231"/>
                  </a:lnTo>
                  <a:lnTo>
                    <a:pt x="180581" y="0"/>
                  </a:lnTo>
                  <a:lnTo>
                    <a:pt x="178714" y="63"/>
                  </a:lnTo>
                  <a:lnTo>
                    <a:pt x="175018" y="1524"/>
                  </a:lnTo>
                  <a:lnTo>
                    <a:pt x="173621" y="2755"/>
                  </a:lnTo>
                  <a:lnTo>
                    <a:pt x="172656" y="4495"/>
                  </a:lnTo>
                  <a:lnTo>
                    <a:pt x="168719" y="9575"/>
                  </a:lnTo>
                  <a:lnTo>
                    <a:pt x="147764" y="37655"/>
                  </a:lnTo>
                  <a:lnTo>
                    <a:pt x="160985" y="47663"/>
                  </a:lnTo>
                  <a:lnTo>
                    <a:pt x="171005" y="34848"/>
                  </a:lnTo>
                  <a:lnTo>
                    <a:pt x="171958" y="35344"/>
                  </a:lnTo>
                  <a:lnTo>
                    <a:pt x="171958" y="232283"/>
                  </a:lnTo>
                  <a:lnTo>
                    <a:pt x="188175" y="232143"/>
                  </a:lnTo>
                  <a:lnTo>
                    <a:pt x="188175" y="9499"/>
                  </a:lnTo>
                  <a:lnTo>
                    <a:pt x="188417" y="7531"/>
                  </a:lnTo>
                  <a:close/>
                </a:path>
                <a:path w="240664" h="232410">
                  <a:moveTo>
                    <a:pt x="240271" y="95250"/>
                  </a:moveTo>
                  <a:lnTo>
                    <a:pt x="223748" y="95250"/>
                  </a:lnTo>
                  <a:lnTo>
                    <a:pt x="223748" y="232283"/>
                  </a:lnTo>
                  <a:lnTo>
                    <a:pt x="240271" y="232283"/>
                  </a:lnTo>
                  <a:lnTo>
                    <a:pt x="240271" y="95250"/>
                  </a:lnTo>
                  <a:close/>
                </a:path>
              </a:pathLst>
            </a:custGeom>
            <a:solidFill>
              <a:srgbClr val="F72E40"/>
            </a:solidFill>
          </p:spPr>
          <p:txBody>
            <a:bodyPr wrap="square" lIns="0" tIns="0" rIns="0" bIns="0" rtlCol="0"/>
            <a:lstStyle/>
            <a:p>
              <a:endParaRPr sz="2118"/>
            </a:p>
          </p:txBody>
        </p:sp>
        <p:pic>
          <p:nvPicPr>
            <p:cNvPr id="91" name="object 91"/>
            <p:cNvPicPr/>
            <p:nvPr/>
          </p:nvPicPr>
          <p:blipFill>
            <a:blip r:embed="rId45" cstate="print"/>
            <a:stretch>
              <a:fillRect/>
            </a:stretch>
          </p:blipFill>
          <p:spPr>
            <a:xfrm>
              <a:off x="1859522" y="4148733"/>
              <a:ext cx="85979" cy="103031"/>
            </a:xfrm>
            <a:prstGeom prst="rect">
              <a:avLst/>
            </a:prstGeom>
          </p:spPr>
        </p:pic>
        <p:pic>
          <p:nvPicPr>
            <p:cNvPr id="92" name="object 92"/>
            <p:cNvPicPr/>
            <p:nvPr/>
          </p:nvPicPr>
          <p:blipFill>
            <a:blip r:embed="rId46" cstate="print"/>
            <a:stretch>
              <a:fillRect/>
            </a:stretch>
          </p:blipFill>
          <p:spPr>
            <a:xfrm>
              <a:off x="2082489" y="4149638"/>
              <a:ext cx="86646" cy="102227"/>
            </a:xfrm>
            <a:prstGeom prst="rect">
              <a:avLst/>
            </a:prstGeom>
          </p:spPr>
        </p:pic>
        <p:sp>
          <p:nvSpPr>
            <p:cNvPr id="93" name="object 93"/>
            <p:cNvSpPr/>
            <p:nvPr/>
          </p:nvSpPr>
          <p:spPr>
            <a:xfrm>
              <a:off x="2249233" y="4260989"/>
              <a:ext cx="413384" cy="300990"/>
            </a:xfrm>
            <a:custGeom>
              <a:avLst/>
              <a:gdLst/>
              <a:ahLst/>
              <a:cxnLst/>
              <a:rect l="l" t="t" r="r" b="b"/>
              <a:pathLst>
                <a:path w="413385" h="300989">
                  <a:moveTo>
                    <a:pt x="103314" y="163880"/>
                  </a:moveTo>
                  <a:lnTo>
                    <a:pt x="86944" y="163880"/>
                  </a:lnTo>
                  <a:lnTo>
                    <a:pt x="86944" y="300913"/>
                  </a:lnTo>
                  <a:lnTo>
                    <a:pt x="103314" y="300913"/>
                  </a:lnTo>
                  <a:lnTo>
                    <a:pt x="103314" y="163880"/>
                  </a:lnTo>
                  <a:close/>
                </a:path>
                <a:path w="413385" h="300989">
                  <a:moveTo>
                    <a:pt x="240766" y="122262"/>
                  </a:moveTo>
                  <a:lnTo>
                    <a:pt x="240068" y="120103"/>
                  </a:lnTo>
                  <a:lnTo>
                    <a:pt x="238404" y="118249"/>
                  </a:lnTo>
                  <a:lnTo>
                    <a:pt x="212801" y="80060"/>
                  </a:lnTo>
                  <a:lnTo>
                    <a:pt x="186867" y="42176"/>
                  </a:lnTo>
                  <a:lnTo>
                    <a:pt x="156197" y="10960"/>
                  </a:lnTo>
                  <a:lnTo>
                    <a:pt x="116344" y="0"/>
                  </a:lnTo>
                  <a:lnTo>
                    <a:pt x="57048" y="0"/>
                  </a:lnTo>
                  <a:lnTo>
                    <a:pt x="53340" y="393"/>
                  </a:lnTo>
                  <a:lnTo>
                    <a:pt x="49669" y="1155"/>
                  </a:lnTo>
                  <a:lnTo>
                    <a:pt x="42595" y="2451"/>
                  </a:lnTo>
                  <a:lnTo>
                    <a:pt x="9131" y="28105"/>
                  </a:lnTo>
                  <a:lnTo>
                    <a:pt x="0" y="54952"/>
                  </a:lnTo>
                  <a:lnTo>
                    <a:pt x="190" y="62153"/>
                  </a:lnTo>
                  <a:lnTo>
                    <a:pt x="355" y="110007"/>
                  </a:lnTo>
                  <a:lnTo>
                    <a:pt x="190" y="125971"/>
                  </a:lnTo>
                  <a:lnTo>
                    <a:pt x="241" y="130708"/>
                  </a:lnTo>
                  <a:lnTo>
                    <a:pt x="1003" y="135331"/>
                  </a:lnTo>
                  <a:lnTo>
                    <a:pt x="26530" y="167551"/>
                  </a:lnTo>
                  <a:lnTo>
                    <a:pt x="32270" y="169430"/>
                  </a:lnTo>
                  <a:lnTo>
                    <a:pt x="33274" y="170116"/>
                  </a:lnTo>
                  <a:lnTo>
                    <a:pt x="34759" y="172262"/>
                  </a:lnTo>
                  <a:lnTo>
                    <a:pt x="35039" y="173456"/>
                  </a:lnTo>
                  <a:lnTo>
                    <a:pt x="34848" y="174752"/>
                  </a:lnTo>
                  <a:lnTo>
                    <a:pt x="34848" y="300824"/>
                  </a:lnTo>
                  <a:lnTo>
                    <a:pt x="51384" y="300824"/>
                  </a:lnTo>
                  <a:lnTo>
                    <a:pt x="51384" y="74472"/>
                  </a:lnTo>
                  <a:lnTo>
                    <a:pt x="51562" y="73355"/>
                  </a:lnTo>
                  <a:lnTo>
                    <a:pt x="51562" y="72237"/>
                  </a:lnTo>
                  <a:lnTo>
                    <a:pt x="51384" y="71120"/>
                  </a:lnTo>
                  <a:lnTo>
                    <a:pt x="51079" y="70269"/>
                  </a:lnTo>
                  <a:lnTo>
                    <a:pt x="50126" y="69062"/>
                  </a:lnTo>
                  <a:lnTo>
                    <a:pt x="34848" y="69062"/>
                  </a:lnTo>
                  <a:lnTo>
                    <a:pt x="34848" y="152107"/>
                  </a:lnTo>
                  <a:lnTo>
                    <a:pt x="29933" y="150342"/>
                  </a:lnTo>
                  <a:lnTo>
                    <a:pt x="25882" y="147370"/>
                  </a:lnTo>
                  <a:lnTo>
                    <a:pt x="19507" y="139065"/>
                  </a:lnTo>
                  <a:lnTo>
                    <a:pt x="17703" y="134378"/>
                  </a:lnTo>
                  <a:lnTo>
                    <a:pt x="17272" y="129171"/>
                  </a:lnTo>
                  <a:lnTo>
                    <a:pt x="17284" y="55308"/>
                  </a:lnTo>
                  <a:lnTo>
                    <a:pt x="41186" y="20993"/>
                  </a:lnTo>
                  <a:lnTo>
                    <a:pt x="55854" y="16662"/>
                  </a:lnTo>
                  <a:lnTo>
                    <a:pt x="124028" y="16700"/>
                  </a:lnTo>
                  <a:lnTo>
                    <a:pt x="163817" y="39865"/>
                  </a:lnTo>
                  <a:lnTo>
                    <a:pt x="191363" y="77698"/>
                  </a:lnTo>
                  <a:lnTo>
                    <a:pt x="219519" y="119811"/>
                  </a:lnTo>
                  <a:lnTo>
                    <a:pt x="220522" y="122656"/>
                  </a:lnTo>
                  <a:lnTo>
                    <a:pt x="219976" y="123317"/>
                  </a:lnTo>
                  <a:lnTo>
                    <a:pt x="182702" y="112064"/>
                  </a:lnTo>
                  <a:lnTo>
                    <a:pt x="170395" y="99047"/>
                  </a:lnTo>
                  <a:lnTo>
                    <a:pt x="145592" y="73126"/>
                  </a:lnTo>
                  <a:lnTo>
                    <a:pt x="143852" y="71145"/>
                  </a:lnTo>
                  <a:lnTo>
                    <a:pt x="141706" y="69799"/>
                  </a:lnTo>
                  <a:lnTo>
                    <a:pt x="139179" y="69062"/>
                  </a:lnTo>
                  <a:lnTo>
                    <a:pt x="133464" y="68021"/>
                  </a:lnTo>
                  <a:lnTo>
                    <a:pt x="129616" y="72224"/>
                  </a:lnTo>
                  <a:lnTo>
                    <a:pt x="129616" y="300913"/>
                  </a:lnTo>
                  <a:lnTo>
                    <a:pt x="146850" y="300824"/>
                  </a:lnTo>
                  <a:lnTo>
                    <a:pt x="146532" y="298627"/>
                  </a:lnTo>
                  <a:lnTo>
                    <a:pt x="146494" y="101574"/>
                  </a:lnTo>
                  <a:lnTo>
                    <a:pt x="146748" y="100469"/>
                  </a:lnTo>
                  <a:lnTo>
                    <a:pt x="146748" y="99314"/>
                  </a:lnTo>
                  <a:lnTo>
                    <a:pt x="147840" y="98818"/>
                  </a:lnTo>
                  <a:lnTo>
                    <a:pt x="148602" y="99949"/>
                  </a:lnTo>
                  <a:lnTo>
                    <a:pt x="150304" y="102069"/>
                  </a:lnTo>
                  <a:lnTo>
                    <a:pt x="183362" y="137134"/>
                  </a:lnTo>
                  <a:lnTo>
                    <a:pt x="186220" y="140512"/>
                  </a:lnTo>
                  <a:lnTo>
                    <a:pt x="189636" y="143154"/>
                  </a:lnTo>
                  <a:lnTo>
                    <a:pt x="197637" y="146939"/>
                  </a:lnTo>
                  <a:lnTo>
                    <a:pt x="201841" y="147929"/>
                  </a:lnTo>
                  <a:lnTo>
                    <a:pt x="210693" y="148082"/>
                  </a:lnTo>
                  <a:lnTo>
                    <a:pt x="214934" y="147243"/>
                  </a:lnTo>
                  <a:lnTo>
                    <a:pt x="223050" y="143725"/>
                  </a:lnTo>
                  <a:lnTo>
                    <a:pt x="226568" y="141211"/>
                  </a:lnTo>
                  <a:lnTo>
                    <a:pt x="229539" y="137934"/>
                  </a:lnTo>
                  <a:lnTo>
                    <a:pt x="236994" y="130568"/>
                  </a:lnTo>
                  <a:lnTo>
                    <a:pt x="239039" y="129146"/>
                  </a:lnTo>
                  <a:lnTo>
                    <a:pt x="240207" y="127203"/>
                  </a:lnTo>
                  <a:lnTo>
                    <a:pt x="240766" y="122262"/>
                  </a:lnTo>
                  <a:close/>
                </a:path>
                <a:path w="413385" h="300989">
                  <a:moveTo>
                    <a:pt x="275336" y="76136"/>
                  </a:moveTo>
                  <a:lnTo>
                    <a:pt x="274929" y="74295"/>
                  </a:lnTo>
                  <a:lnTo>
                    <a:pt x="272770" y="70904"/>
                  </a:lnTo>
                  <a:lnTo>
                    <a:pt x="271284" y="69735"/>
                  </a:lnTo>
                  <a:lnTo>
                    <a:pt x="267449" y="68516"/>
                  </a:lnTo>
                  <a:lnTo>
                    <a:pt x="265569" y="68580"/>
                  </a:lnTo>
                  <a:lnTo>
                    <a:pt x="261835" y="70091"/>
                  </a:lnTo>
                  <a:lnTo>
                    <a:pt x="260438" y="71348"/>
                  </a:lnTo>
                  <a:lnTo>
                    <a:pt x="259486" y="73126"/>
                  </a:lnTo>
                  <a:lnTo>
                    <a:pt x="255562" y="78206"/>
                  </a:lnTo>
                  <a:lnTo>
                    <a:pt x="234594" y="106286"/>
                  </a:lnTo>
                  <a:lnTo>
                    <a:pt x="247815" y="116293"/>
                  </a:lnTo>
                  <a:lnTo>
                    <a:pt x="257835" y="103479"/>
                  </a:lnTo>
                  <a:lnTo>
                    <a:pt x="258737" y="103974"/>
                  </a:lnTo>
                  <a:lnTo>
                    <a:pt x="258737" y="300913"/>
                  </a:lnTo>
                  <a:lnTo>
                    <a:pt x="275069" y="300774"/>
                  </a:lnTo>
                  <a:lnTo>
                    <a:pt x="275069" y="78130"/>
                  </a:lnTo>
                  <a:lnTo>
                    <a:pt x="275336" y="76136"/>
                  </a:lnTo>
                  <a:close/>
                </a:path>
                <a:path w="413385" h="300989">
                  <a:moveTo>
                    <a:pt x="327050" y="163880"/>
                  </a:moveTo>
                  <a:lnTo>
                    <a:pt x="310578" y="163880"/>
                  </a:lnTo>
                  <a:lnTo>
                    <a:pt x="310578" y="300913"/>
                  </a:lnTo>
                  <a:lnTo>
                    <a:pt x="327050" y="300913"/>
                  </a:lnTo>
                  <a:lnTo>
                    <a:pt x="327050" y="163880"/>
                  </a:lnTo>
                  <a:close/>
                </a:path>
                <a:path w="413385" h="300989">
                  <a:moveTo>
                    <a:pt x="413308" y="55397"/>
                  </a:moveTo>
                  <a:lnTo>
                    <a:pt x="412965" y="54597"/>
                  </a:lnTo>
                  <a:lnTo>
                    <a:pt x="412508" y="52933"/>
                  </a:lnTo>
                  <a:lnTo>
                    <a:pt x="411530" y="45631"/>
                  </a:lnTo>
                  <a:lnTo>
                    <a:pt x="409308" y="38722"/>
                  </a:lnTo>
                  <a:lnTo>
                    <a:pt x="380542" y="6565"/>
                  </a:lnTo>
                  <a:lnTo>
                    <a:pt x="290207" y="12"/>
                  </a:lnTo>
                  <a:lnTo>
                    <a:pt x="286346" y="393"/>
                  </a:lnTo>
                  <a:lnTo>
                    <a:pt x="248094" y="20294"/>
                  </a:lnTo>
                  <a:lnTo>
                    <a:pt x="218020" y="63055"/>
                  </a:lnTo>
                  <a:lnTo>
                    <a:pt x="218020" y="63957"/>
                  </a:lnTo>
                  <a:lnTo>
                    <a:pt x="230987" y="72872"/>
                  </a:lnTo>
                  <a:lnTo>
                    <a:pt x="231889" y="71666"/>
                  </a:lnTo>
                  <a:lnTo>
                    <a:pt x="232638" y="70815"/>
                  </a:lnTo>
                  <a:lnTo>
                    <a:pt x="257505" y="35090"/>
                  </a:lnTo>
                  <a:lnTo>
                    <a:pt x="292900" y="16725"/>
                  </a:lnTo>
                  <a:lnTo>
                    <a:pt x="355180" y="16738"/>
                  </a:lnTo>
                  <a:lnTo>
                    <a:pt x="389382" y="36817"/>
                  </a:lnTo>
                  <a:lnTo>
                    <a:pt x="396341" y="56464"/>
                  </a:lnTo>
                  <a:lnTo>
                    <a:pt x="395960" y="78066"/>
                  </a:lnTo>
                  <a:lnTo>
                    <a:pt x="395846" y="94361"/>
                  </a:lnTo>
                  <a:lnTo>
                    <a:pt x="395960" y="110629"/>
                  </a:lnTo>
                  <a:lnTo>
                    <a:pt x="396278" y="126873"/>
                  </a:lnTo>
                  <a:lnTo>
                    <a:pt x="395998" y="133210"/>
                  </a:lnTo>
                  <a:lnTo>
                    <a:pt x="370128" y="154965"/>
                  </a:lnTo>
                  <a:lnTo>
                    <a:pt x="369836" y="153111"/>
                  </a:lnTo>
                  <a:lnTo>
                    <a:pt x="369836" y="71120"/>
                  </a:lnTo>
                  <a:lnTo>
                    <a:pt x="368935" y="69062"/>
                  </a:lnTo>
                  <a:lnTo>
                    <a:pt x="353352" y="69062"/>
                  </a:lnTo>
                  <a:lnTo>
                    <a:pt x="353352" y="300913"/>
                  </a:lnTo>
                  <a:lnTo>
                    <a:pt x="369925" y="300913"/>
                  </a:lnTo>
                  <a:lnTo>
                    <a:pt x="369925" y="171792"/>
                  </a:lnTo>
                  <a:lnTo>
                    <a:pt x="376593" y="170980"/>
                  </a:lnTo>
                  <a:lnTo>
                    <a:pt x="410298" y="142354"/>
                  </a:lnTo>
                  <a:lnTo>
                    <a:pt x="412737" y="133083"/>
                  </a:lnTo>
                  <a:lnTo>
                    <a:pt x="413308" y="131978"/>
                  </a:lnTo>
                  <a:lnTo>
                    <a:pt x="413308" y="55397"/>
                  </a:lnTo>
                  <a:close/>
                </a:path>
              </a:pathLst>
            </a:custGeom>
            <a:solidFill>
              <a:srgbClr val="F72E40"/>
            </a:solidFill>
          </p:spPr>
          <p:txBody>
            <a:bodyPr wrap="square" lIns="0" tIns="0" rIns="0" bIns="0" rtlCol="0"/>
            <a:lstStyle/>
            <a:p>
              <a:endParaRPr sz="2118"/>
            </a:p>
          </p:txBody>
        </p:sp>
        <p:pic>
          <p:nvPicPr>
            <p:cNvPr id="94" name="object 94"/>
            <p:cNvPicPr/>
            <p:nvPr/>
          </p:nvPicPr>
          <p:blipFill>
            <a:blip r:embed="rId47" cstate="print"/>
            <a:stretch>
              <a:fillRect/>
            </a:stretch>
          </p:blipFill>
          <p:spPr>
            <a:xfrm>
              <a:off x="2524556" y="4149638"/>
              <a:ext cx="86671" cy="102227"/>
            </a:xfrm>
            <a:prstGeom prst="rect">
              <a:avLst/>
            </a:prstGeom>
          </p:spPr>
        </p:pic>
        <p:pic>
          <p:nvPicPr>
            <p:cNvPr id="95" name="object 95"/>
            <p:cNvPicPr/>
            <p:nvPr/>
          </p:nvPicPr>
          <p:blipFill>
            <a:blip r:embed="rId48" cstate="print"/>
            <a:stretch>
              <a:fillRect/>
            </a:stretch>
          </p:blipFill>
          <p:spPr>
            <a:xfrm>
              <a:off x="2301718" y="4148732"/>
              <a:ext cx="85900" cy="103032"/>
            </a:xfrm>
            <a:prstGeom prst="rect">
              <a:avLst/>
            </a:prstGeom>
          </p:spPr>
        </p:pic>
        <p:pic>
          <p:nvPicPr>
            <p:cNvPr id="96" name="object 96"/>
            <p:cNvPicPr/>
            <p:nvPr/>
          </p:nvPicPr>
          <p:blipFill>
            <a:blip r:embed="rId49" cstate="print"/>
            <a:stretch>
              <a:fillRect/>
            </a:stretch>
          </p:blipFill>
          <p:spPr>
            <a:xfrm>
              <a:off x="2691060" y="4143724"/>
              <a:ext cx="849157" cy="418229"/>
            </a:xfrm>
            <a:prstGeom prst="rect">
              <a:avLst/>
            </a:prstGeom>
          </p:spPr>
        </p:pic>
        <p:sp>
          <p:nvSpPr>
            <p:cNvPr id="97" name="object 97"/>
            <p:cNvSpPr/>
            <p:nvPr/>
          </p:nvSpPr>
          <p:spPr>
            <a:xfrm>
              <a:off x="3824861" y="2199805"/>
              <a:ext cx="2534920" cy="2359025"/>
            </a:xfrm>
            <a:custGeom>
              <a:avLst/>
              <a:gdLst/>
              <a:ahLst/>
              <a:cxnLst/>
              <a:rect l="l" t="t" r="r" b="b"/>
              <a:pathLst>
                <a:path w="2534920" h="2359025">
                  <a:moveTo>
                    <a:pt x="2534747" y="2358491"/>
                  </a:moveTo>
                  <a:lnTo>
                    <a:pt x="0" y="2358491"/>
                  </a:lnTo>
                  <a:lnTo>
                    <a:pt x="0" y="0"/>
                  </a:lnTo>
                  <a:lnTo>
                    <a:pt x="2534747" y="0"/>
                  </a:lnTo>
                  <a:lnTo>
                    <a:pt x="2534747" y="2358491"/>
                  </a:lnTo>
                  <a:close/>
                </a:path>
              </a:pathLst>
            </a:custGeom>
            <a:solidFill>
              <a:srgbClr val="F72E40"/>
            </a:solidFill>
          </p:spPr>
          <p:txBody>
            <a:bodyPr wrap="square" lIns="0" tIns="0" rIns="0" bIns="0" rtlCol="0"/>
            <a:lstStyle/>
            <a:p>
              <a:endParaRPr sz="2118" dirty="0"/>
            </a:p>
          </p:txBody>
        </p:sp>
        <p:pic>
          <p:nvPicPr>
            <p:cNvPr id="98" name="object 98"/>
            <p:cNvPicPr/>
            <p:nvPr/>
          </p:nvPicPr>
          <p:blipFill>
            <a:blip r:embed="rId50" cstate="print"/>
            <a:stretch>
              <a:fillRect/>
            </a:stretch>
          </p:blipFill>
          <p:spPr>
            <a:xfrm>
              <a:off x="7600311" y="2308744"/>
              <a:ext cx="193435" cy="171948"/>
            </a:xfrm>
            <a:prstGeom prst="rect">
              <a:avLst/>
            </a:prstGeom>
          </p:spPr>
        </p:pic>
        <p:pic>
          <p:nvPicPr>
            <p:cNvPr id="99" name="object 99"/>
            <p:cNvPicPr/>
            <p:nvPr/>
          </p:nvPicPr>
          <p:blipFill>
            <a:blip r:embed="rId51" cstate="print"/>
            <a:stretch>
              <a:fillRect/>
            </a:stretch>
          </p:blipFill>
          <p:spPr>
            <a:xfrm>
              <a:off x="7836620" y="2308744"/>
              <a:ext cx="192684" cy="171797"/>
            </a:xfrm>
            <a:prstGeom prst="rect">
              <a:avLst/>
            </a:prstGeom>
          </p:spPr>
        </p:pic>
        <p:sp>
          <p:nvSpPr>
            <p:cNvPr id="100" name="object 100"/>
            <p:cNvSpPr/>
            <p:nvPr/>
          </p:nvSpPr>
          <p:spPr>
            <a:xfrm>
              <a:off x="8054797" y="2308745"/>
              <a:ext cx="564515" cy="172085"/>
            </a:xfrm>
            <a:custGeom>
              <a:avLst/>
              <a:gdLst/>
              <a:ahLst/>
              <a:cxnLst/>
              <a:rect l="l" t="t" r="r" b="b"/>
              <a:pathLst>
                <a:path w="564515" h="172085">
                  <a:moveTo>
                    <a:pt x="192684" y="171805"/>
                  </a:moveTo>
                  <a:lnTo>
                    <a:pt x="176212" y="134988"/>
                  </a:lnTo>
                  <a:lnTo>
                    <a:pt x="162775" y="104940"/>
                  </a:lnTo>
                  <a:lnTo>
                    <a:pt x="133337" y="39128"/>
                  </a:lnTo>
                  <a:lnTo>
                    <a:pt x="123063" y="16141"/>
                  </a:lnTo>
                  <a:lnTo>
                    <a:pt x="123063" y="104940"/>
                  </a:lnTo>
                  <a:lnTo>
                    <a:pt x="68567" y="104940"/>
                  </a:lnTo>
                  <a:lnTo>
                    <a:pt x="95808" y="39128"/>
                  </a:lnTo>
                  <a:lnTo>
                    <a:pt x="123063" y="104940"/>
                  </a:lnTo>
                  <a:lnTo>
                    <a:pt x="123063" y="16141"/>
                  </a:lnTo>
                  <a:lnTo>
                    <a:pt x="115849" y="0"/>
                  </a:lnTo>
                  <a:lnTo>
                    <a:pt x="76581" y="0"/>
                  </a:lnTo>
                  <a:lnTo>
                    <a:pt x="0" y="171805"/>
                  </a:lnTo>
                  <a:lnTo>
                    <a:pt x="40767" y="171805"/>
                  </a:lnTo>
                  <a:lnTo>
                    <a:pt x="55791" y="134988"/>
                  </a:lnTo>
                  <a:lnTo>
                    <a:pt x="135585" y="134988"/>
                  </a:lnTo>
                  <a:lnTo>
                    <a:pt x="150952" y="171805"/>
                  </a:lnTo>
                  <a:lnTo>
                    <a:pt x="192684" y="171805"/>
                  </a:lnTo>
                  <a:close/>
                </a:path>
                <a:path w="564515" h="172085">
                  <a:moveTo>
                    <a:pt x="356920" y="596"/>
                  </a:moveTo>
                  <a:lnTo>
                    <a:pt x="206654" y="596"/>
                  </a:lnTo>
                  <a:lnTo>
                    <a:pt x="206654" y="32346"/>
                  </a:lnTo>
                  <a:lnTo>
                    <a:pt x="261747" y="32346"/>
                  </a:lnTo>
                  <a:lnTo>
                    <a:pt x="261747" y="172046"/>
                  </a:lnTo>
                  <a:lnTo>
                    <a:pt x="301815" y="172046"/>
                  </a:lnTo>
                  <a:lnTo>
                    <a:pt x="301815" y="32346"/>
                  </a:lnTo>
                  <a:lnTo>
                    <a:pt x="356920" y="32346"/>
                  </a:lnTo>
                  <a:lnTo>
                    <a:pt x="356920" y="596"/>
                  </a:lnTo>
                  <a:close/>
                </a:path>
                <a:path w="564515" h="172085">
                  <a:moveTo>
                    <a:pt x="563930" y="171805"/>
                  </a:moveTo>
                  <a:lnTo>
                    <a:pt x="547471" y="134988"/>
                  </a:lnTo>
                  <a:lnTo>
                    <a:pt x="534035" y="104940"/>
                  </a:lnTo>
                  <a:lnTo>
                    <a:pt x="504621" y="39128"/>
                  </a:lnTo>
                  <a:lnTo>
                    <a:pt x="494652" y="16814"/>
                  </a:lnTo>
                  <a:lnTo>
                    <a:pt x="494652" y="104940"/>
                  </a:lnTo>
                  <a:lnTo>
                    <a:pt x="440156" y="104940"/>
                  </a:lnTo>
                  <a:lnTo>
                    <a:pt x="467410" y="39128"/>
                  </a:lnTo>
                  <a:lnTo>
                    <a:pt x="494652" y="104940"/>
                  </a:lnTo>
                  <a:lnTo>
                    <a:pt x="494652" y="16814"/>
                  </a:lnTo>
                  <a:lnTo>
                    <a:pt x="487146" y="0"/>
                  </a:lnTo>
                  <a:lnTo>
                    <a:pt x="448221" y="0"/>
                  </a:lnTo>
                  <a:lnTo>
                    <a:pt x="371640" y="171805"/>
                  </a:lnTo>
                  <a:lnTo>
                    <a:pt x="412356" y="171805"/>
                  </a:lnTo>
                  <a:lnTo>
                    <a:pt x="427393" y="134988"/>
                  </a:lnTo>
                  <a:lnTo>
                    <a:pt x="507174" y="134988"/>
                  </a:lnTo>
                  <a:lnTo>
                    <a:pt x="522198" y="171805"/>
                  </a:lnTo>
                  <a:lnTo>
                    <a:pt x="563930" y="171805"/>
                  </a:lnTo>
                  <a:close/>
                </a:path>
              </a:pathLst>
            </a:custGeom>
            <a:solidFill>
              <a:srgbClr val="F72E40"/>
            </a:solidFill>
          </p:spPr>
          <p:txBody>
            <a:bodyPr wrap="square" lIns="0" tIns="0" rIns="0" bIns="0" rtlCol="0"/>
            <a:lstStyle/>
            <a:p>
              <a:endParaRPr sz="2118"/>
            </a:p>
          </p:txBody>
        </p:sp>
        <p:pic>
          <p:nvPicPr>
            <p:cNvPr id="101" name="object 101"/>
            <p:cNvPicPr/>
            <p:nvPr/>
          </p:nvPicPr>
          <p:blipFill>
            <a:blip r:embed="rId52" cstate="print"/>
            <a:stretch>
              <a:fillRect/>
            </a:stretch>
          </p:blipFill>
          <p:spPr>
            <a:xfrm>
              <a:off x="4007679" y="3960910"/>
              <a:ext cx="291104" cy="143449"/>
            </a:xfrm>
            <a:prstGeom prst="rect">
              <a:avLst/>
            </a:prstGeom>
          </p:spPr>
        </p:pic>
        <p:pic>
          <p:nvPicPr>
            <p:cNvPr id="102" name="object 102"/>
            <p:cNvPicPr/>
            <p:nvPr/>
          </p:nvPicPr>
          <p:blipFill>
            <a:blip r:embed="rId53" cstate="print"/>
            <a:stretch>
              <a:fillRect/>
            </a:stretch>
          </p:blipFill>
          <p:spPr>
            <a:xfrm>
              <a:off x="4324178" y="3960910"/>
              <a:ext cx="168292" cy="140243"/>
            </a:xfrm>
            <a:prstGeom prst="rect">
              <a:avLst/>
            </a:prstGeom>
          </p:spPr>
        </p:pic>
        <p:sp>
          <p:nvSpPr>
            <p:cNvPr id="103" name="object 103"/>
            <p:cNvSpPr/>
            <p:nvPr/>
          </p:nvSpPr>
          <p:spPr>
            <a:xfrm>
              <a:off x="4519409" y="3957713"/>
              <a:ext cx="1719580" cy="146685"/>
            </a:xfrm>
            <a:custGeom>
              <a:avLst/>
              <a:gdLst/>
              <a:ahLst/>
              <a:cxnLst/>
              <a:rect l="l" t="t" r="r" b="b"/>
              <a:pathLst>
                <a:path w="1719579" h="146685">
                  <a:moveTo>
                    <a:pt x="132003" y="51142"/>
                  </a:moveTo>
                  <a:lnTo>
                    <a:pt x="109982" y="14097"/>
                  </a:lnTo>
                  <a:lnTo>
                    <a:pt x="83591" y="4483"/>
                  </a:lnTo>
                  <a:lnTo>
                    <a:pt x="83591" y="53848"/>
                  </a:lnTo>
                  <a:lnTo>
                    <a:pt x="83591" y="58343"/>
                  </a:lnTo>
                  <a:lnTo>
                    <a:pt x="69761" y="72974"/>
                  </a:lnTo>
                  <a:lnTo>
                    <a:pt x="64414" y="72567"/>
                  </a:lnTo>
                  <a:lnTo>
                    <a:pt x="47180" y="72567"/>
                  </a:lnTo>
                  <a:lnTo>
                    <a:pt x="47180" y="39662"/>
                  </a:lnTo>
                  <a:lnTo>
                    <a:pt x="64414" y="39662"/>
                  </a:lnTo>
                  <a:lnTo>
                    <a:pt x="69748" y="39281"/>
                  </a:lnTo>
                  <a:lnTo>
                    <a:pt x="83591" y="53848"/>
                  </a:lnTo>
                  <a:lnTo>
                    <a:pt x="83591" y="4483"/>
                  </a:lnTo>
                  <a:lnTo>
                    <a:pt x="76200" y="3467"/>
                  </a:lnTo>
                  <a:lnTo>
                    <a:pt x="67513" y="3200"/>
                  </a:lnTo>
                  <a:lnTo>
                    <a:pt x="0" y="3200"/>
                  </a:lnTo>
                  <a:lnTo>
                    <a:pt x="0" y="143446"/>
                  </a:lnTo>
                  <a:lnTo>
                    <a:pt x="47332" y="143446"/>
                  </a:lnTo>
                  <a:lnTo>
                    <a:pt x="47332" y="108991"/>
                  </a:lnTo>
                  <a:lnTo>
                    <a:pt x="67373" y="108991"/>
                  </a:lnTo>
                  <a:lnTo>
                    <a:pt x="105791" y="100634"/>
                  </a:lnTo>
                  <a:lnTo>
                    <a:pt x="129159" y="72974"/>
                  </a:lnTo>
                  <a:lnTo>
                    <a:pt x="131292" y="65900"/>
                  </a:lnTo>
                  <a:lnTo>
                    <a:pt x="132003" y="61048"/>
                  </a:lnTo>
                  <a:lnTo>
                    <a:pt x="132003" y="51142"/>
                  </a:lnTo>
                  <a:close/>
                </a:path>
                <a:path w="1719579" h="146685">
                  <a:moveTo>
                    <a:pt x="282917" y="51142"/>
                  </a:moveTo>
                  <a:lnTo>
                    <a:pt x="260883" y="14097"/>
                  </a:lnTo>
                  <a:lnTo>
                    <a:pt x="234505" y="4483"/>
                  </a:lnTo>
                  <a:lnTo>
                    <a:pt x="234505" y="53848"/>
                  </a:lnTo>
                  <a:lnTo>
                    <a:pt x="234505" y="58343"/>
                  </a:lnTo>
                  <a:lnTo>
                    <a:pt x="220649" y="72986"/>
                  </a:lnTo>
                  <a:lnTo>
                    <a:pt x="215277" y="72567"/>
                  </a:lnTo>
                  <a:lnTo>
                    <a:pt x="198043" y="72567"/>
                  </a:lnTo>
                  <a:lnTo>
                    <a:pt x="198043" y="39662"/>
                  </a:lnTo>
                  <a:lnTo>
                    <a:pt x="215277" y="39662"/>
                  </a:lnTo>
                  <a:lnTo>
                    <a:pt x="220624" y="39268"/>
                  </a:lnTo>
                  <a:lnTo>
                    <a:pt x="234505" y="53848"/>
                  </a:lnTo>
                  <a:lnTo>
                    <a:pt x="234505" y="4483"/>
                  </a:lnTo>
                  <a:lnTo>
                    <a:pt x="227037" y="3467"/>
                  </a:lnTo>
                  <a:lnTo>
                    <a:pt x="218325" y="3200"/>
                  </a:lnTo>
                  <a:lnTo>
                    <a:pt x="150812" y="3200"/>
                  </a:lnTo>
                  <a:lnTo>
                    <a:pt x="150812" y="143446"/>
                  </a:lnTo>
                  <a:lnTo>
                    <a:pt x="198247" y="143446"/>
                  </a:lnTo>
                  <a:lnTo>
                    <a:pt x="198247" y="108991"/>
                  </a:lnTo>
                  <a:lnTo>
                    <a:pt x="218274" y="108991"/>
                  </a:lnTo>
                  <a:lnTo>
                    <a:pt x="256705" y="100634"/>
                  </a:lnTo>
                  <a:lnTo>
                    <a:pt x="282194" y="65900"/>
                  </a:lnTo>
                  <a:lnTo>
                    <a:pt x="282917" y="61048"/>
                  </a:lnTo>
                  <a:lnTo>
                    <a:pt x="282917" y="51142"/>
                  </a:lnTo>
                  <a:close/>
                </a:path>
                <a:path w="1719579" h="146685">
                  <a:moveTo>
                    <a:pt x="448424" y="143446"/>
                  </a:moveTo>
                  <a:lnTo>
                    <a:pt x="437743" y="118999"/>
                  </a:lnTo>
                  <a:lnTo>
                    <a:pt x="422859" y="84950"/>
                  </a:lnTo>
                  <a:lnTo>
                    <a:pt x="407530" y="49885"/>
                  </a:lnTo>
                  <a:lnTo>
                    <a:pt x="387121" y="3200"/>
                  </a:lnTo>
                  <a:lnTo>
                    <a:pt x="377101" y="3200"/>
                  </a:lnTo>
                  <a:lnTo>
                    <a:pt x="377101" y="84950"/>
                  </a:lnTo>
                  <a:lnTo>
                    <a:pt x="349859" y="84950"/>
                  </a:lnTo>
                  <a:lnTo>
                    <a:pt x="363486" y="49885"/>
                  </a:lnTo>
                  <a:lnTo>
                    <a:pt x="377101" y="84950"/>
                  </a:lnTo>
                  <a:lnTo>
                    <a:pt x="377101" y="3200"/>
                  </a:lnTo>
                  <a:lnTo>
                    <a:pt x="340639" y="3200"/>
                  </a:lnTo>
                  <a:lnTo>
                    <a:pt x="279336" y="143446"/>
                  </a:lnTo>
                  <a:lnTo>
                    <a:pt x="327418" y="143446"/>
                  </a:lnTo>
                  <a:lnTo>
                    <a:pt x="336842" y="118999"/>
                  </a:lnTo>
                  <a:lnTo>
                    <a:pt x="390131" y="118999"/>
                  </a:lnTo>
                  <a:lnTo>
                    <a:pt x="399542" y="143446"/>
                  </a:lnTo>
                  <a:lnTo>
                    <a:pt x="448424" y="143446"/>
                  </a:lnTo>
                  <a:close/>
                </a:path>
                <a:path w="1719579" h="146685">
                  <a:moveTo>
                    <a:pt x="598284" y="3200"/>
                  </a:moveTo>
                  <a:lnTo>
                    <a:pt x="552208" y="3200"/>
                  </a:lnTo>
                  <a:lnTo>
                    <a:pt x="552208" y="66916"/>
                  </a:lnTo>
                  <a:lnTo>
                    <a:pt x="498919" y="3200"/>
                  </a:lnTo>
                  <a:lnTo>
                    <a:pt x="460044" y="3200"/>
                  </a:lnTo>
                  <a:lnTo>
                    <a:pt x="460044" y="143446"/>
                  </a:lnTo>
                  <a:lnTo>
                    <a:pt x="506133" y="143446"/>
                  </a:lnTo>
                  <a:lnTo>
                    <a:pt x="506133" y="79730"/>
                  </a:lnTo>
                  <a:lnTo>
                    <a:pt x="559422" y="143446"/>
                  </a:lnTo>
                  <a:lnTo>
                    <a:pt x="598284" y="143446"/>
                  </a:lnTo>
                  <a:lnTo>
                    <a:pt x="598284" y="3200"/>
                  </a:lnTo>
                  <a:close/>
                </a:path>
                <a:path w="1719579" h="146685">
                  <a:moveTo>
                    <a:pt x="672414" y="3200"/>
                  </a:moveTo>
                  <a:lnTo>
                    <a:pt x="625132" y="3200"/>
                  </a:lnTo>
                  <a:lnTo>
                    <a:pt x="625132" y="143446"/>
                  </a:lnTo>
                  <a:lnTo>
                    <a:pt x="672414" y="143446"/>
                  </a:lnTo>
                  <a:lnTo>
                    <a:pt x="672414" y="3200"/>
                  </a:lnTo>
                  <a:close/>
                </a:path>
                <a:path w="1719579" h="146685">
                  <a:moveTo>
                    <a:pt x="846124" y="143446"/>
                  </a:moveTo>
                  <a:lnTo>
                    <a:pt x="787222" y="64909"/>
                  </a:lnTo>
                  <a:lnTo>
                    <a:pt x="843318" y="3200"/>
                  </a:lnTo>
                  <a:lnTo>
                    <a:pt x="791819" y="3200"/>
                  </a:lnTo>
                  <a:lnTo>
                    <a:pt x="745744" y="54089"/>
                  </a:lnTo>
                  <a:lnTo>
                    <a:pt x="745744" y="3200"/>
                  </a:lnTo>
                  <a:lnTo>
                    <a:pt x="699262" y="3200"/>
                  </a:lnTo>
                  <a:lnTo>
                    <a:pt x="699262" y="143446"/>
                  </a:lnTo>
                  <a:lnTo>
                    <a:pt x="745744" y="143446"/>
                  </a:lnTo>
                  <a:lnTo>
                    <a:pt x="745744" y="108788"/>
                  </a:lnTo>
                  <a:lnTo>
                    <a:pt x="756361" y="96964"/>
                  </a:lnTo>
                  <a:lnTo>
                    <a:pt x="791425" y="143446"/>
                  </a:lnTo>
                  <a:lnTo>
                    <a:pt x="846124" y="143446"/>
                  </a:lnTo>
                  <a:close/>
                </a:path>
                <a:path w="1719579" h="146685">
                  <a:moveTo>
                    <a:pt x="903820" y="3200"/>
                  </a:moveTo>
                  <a:lnTo>
                    <a:pt x="856538" y="3200"/>
                  </a:lnTo>
                  <a:lnTo>
                    <a:pt x="856538" y="143446"/>
                  </a:lnTo>
                  <a:lnTo>
                    <a:pt x="903820" y="143446"/>
                  </a:lnTo>
                  <a:lnTo>
                    <a:pt x="903820" y="3200"/>
                  </a:lnTo>
                  <a:close/>
                </a:path>
                <a:path w="1719579" h="146685">
                  <a:moveTo>
                    <a:pt x="1065098" y="143243"/>
                  </a:moveTo>
                  <a:lnTo>
                    <a:pt x="1041234" y="108191"/>
                  </a:lnTo>
                  <a:lnTo>
                    <a:pt x="1035646" y="99974"/>
                  </a:lnTo>
                  <a:lnTo>
                    <a:pt x="1041527" y="96583"/>
                  </a:lnTo>
                  <a:lnTo>
                    <a:pt x="1046759" y="92481"/>
                  </a:lnTo>
                  <a:lnTo>
                    <a:pt x="1051344" y="87668"/>
                  </a:lnTo>
                  <a:lnTo>
                    <a:pt x="1055281" y="82143"/>
                  </a:lnTo>
                  <a:lnTo>
                    <a:pt x="1058392" y="75946"/>
                  </a:lnTo>
                  <a:lnTo>
                    <a:pt x="1059383" y="72999"/>
                  </a:lnTo>
                  <a:lnTo>
                    <a:pt x="1060564" y="69507"/>
                  </a:lnTo>
                  <a:lnTo>
                    <a:pt x="1061796" y="62826"/>
                  </a:lnTo>
                  <a:lnTo>
                    <a:pt x="1062088" y="55892"/>
                  </a:lnTo>
                  <a:lnTo>
                    <a:pt x="1062253" y="50952"/>
                  </a:lnTo>
                  <a:lnTo>
                    <a:pt x="1061681" y="46101"/>
                  </a:lnTo>
                  <a:lnTo>
                    <a:pt x="1040803" y="13817"/>
                  </a:lnTo>
                  <a:lnTo>
                    <a:pt x="1014412" y="4279"/>
                  </a:lnTo>
                  <a:lnTo>
                    <a:pt x="1014412" y="53886"/>
                  </a:lnTo>
                  <a:lnTo>
                    <a:pt x="1014412" y="58394"/>
                  </a:lnTo>
                  <a:lnTo>
                    <a:pt x="1000544" y="72999"/>
                  </a:lnTo>
                  <a:lnTo>
                    <a:pt x="995172" y="72567"/>
                  </a:lnTo>
                  <a:lnTo>
                    <a:pt x="977950" y="72567"/>
                  </a:lnTo>
                  <a:lnTo>
                    <a:pt x="977950" y="39662"/>
                  </a:lnTo>
                  <a:lnTo>
                    <a:pt x="995172" y="39662"/>
                  </a:lnTo>
                  <a:lnTo>
                    <a:pt x="1000531" y="39268"/>
                  </a:lnTo>
                  <a:lnTo>
                    <a:pt x="1005344" y="40703"/>
                  </a:lnTo>
                  <a:lnTo>
                    <a:pt x="1009599" y="43980"/>
                  </a:lnTo>
                  <a:lnTo>
                    <a:pt x="1011148" y="45669"/>
                  </a:lnTo>
                  <a:lnTo>
                    <a:pt x="1012329" y="47536"/>
                  </a:lnTo>
                  <a:lnTo>
                    <a:pt x="1013993" y="51714"/>
                  </a:lnTo>
                  <a:lnTo>
                    <a:pt x="1014412" y="53886"/>
                  </a:lnTo>
                  <a:lnTo>
                    <a:pt x="1014412" y="4279"/>
                  </a:lnTo>
                  <a:lnTo>
                    <a:pt x="1006906" y="3263"/>
                  </a:lnTo>
                  <a:lnTo>
                    <a:pt x="998181" y="2997"/>
                  </a:lnTo>
                  <a:lnTo>
                    <a:pt x="930668" y="2997"/>
                  </a:lnTo>
                  <a:lnTo>
                    <a:pt x="930668" y="143243"/>
                  </a:lnTo>
                  <a:lnTo>
                    <a:pt x="977950" y="143243"/>
                  </a:lnTo>
                  <a:lnTo>
                    <a:pt x="977950" y="108191"/>
                  </a:lnTo>
                  <a:lnTo>
                    <a:pt x="990765" y="108191"/>
                  </a:lnTo>
                  <a:lnTo>
                    <a:pt x="1014615" y="143243"/>
                  </a:lnTo>
                  <a:lnTo>
                    <a:pt x="1065098" y="143243"/>
                  </a:lnTo>
                  <a:close/>
                </a:path>
                <a:path w="1719579" h="146685">
                  <a:moveTo>
                    <a:pt x="1230782" y="143446"/>
                  </a:moveTo>
                  <a:lnTo>
                    <a:pt x="1171879" y="64909"/>
                  </a:lnTo>
                  <a:lnTo>
                    <a:pt x="1227975" y="3200"/>
                  </a:lnTo>
                  <a:lnTo>
                    <a:pt x="1176489" y="3200"/>
                  </a:lnTo>
                  <a:lnTo>
                    <a:pt x="1130414" y="54089"/>
                  </a:lnTo>
                  <a:lnTo>
                    <a:pt x="1130414" y="3200"/>
                  </a:lnTo>
                  <a:lnTo>
                    <a:pt x="1083932" y="3200"/>
                  </a:lnTo>
                  <a:lnTo>
                    <a:pt x="1083932" y="143446"/>
                  </a:lnTo>
                  <a:lnTo>
                    <a:pt x="1130414" y="143446"/>
                  </a:lnTo>
                  <a:lnTo>
                    <a:pt x="1130414" y="108788"/>
                  </a:lnTo>
                  <a:lnTo>
                    <a:pt x="1141031" y="96964"/>
                  </a:lnTo>
                  <a:lnTo>
                    <a:pt x="1176096" y="143446"/>
                  </a:lnTo>
                  <a:lnTo>
                    <a:pt x="1230782" y="143446"/>
                  </a:lnTo>
                  <a:close/>
                </a:path>
                <a:path w="1719579" h="146685">
                  <a:moveTo>
                    <a:pt x="1387957" y="143446"/>
                  </a:moveTo>
                  <a:lnTo>
                    <a:pt x="1329258" y="64909"/>
                  </a:lnTo>
                  <a:lnTo>
                    <a:pt x="1385354" y="3200"/>
                  </a:lnTo>
                  <a:lnTo>
                    <a:pt x="1333868" y="3200"/>
                  </a:lnTo>
                  <a:lnTo>
                    <a:pt x="1287780" y="54089"/>
                  </a:lnTo>
                  <a:lnTo>
                    <a:pt x="1287780" y="3200"/>
                  </a:lnTo>
                  <a:lnTo>
                    <a:pt x="1241209" y="3200"/>
                  </a:lnTo>
                  <a:lnTo>
                    <a:pt x="1241209" y="143446"/>
                  </a:lnTo>
                  <a:lnTo>
                    <a:pt x="1287780" y="143446"/>
                  </a:lnTo>
                  <a:lnTo>
                    <a:pt x="1287780" y="108788"/>
                  </a:lnTo>
                  <a:lnTo>
                    <a:pt x="1298308" y="96964"/>
                  </a:lnTo>
                  <a:lnTo>
                    <a:pt x="1333360" y="143446"/>
                  </a:lnTo>
                  <a:lnTo>
                    <a:pt x="1387957" y="143446"/>
                  </a:lnTo>
                  <a:close/>
                </a:path>
                <a:path w="1719579" h="146685">
                  <a:moveTo>
                    <a:pt x="1546656" y="66725"/>
                  </a:moveTo>
                  <a:lnTo>
                    <a:pt x="1545767" y="60236"/>
                  </a:lnTo>
                  <a:lnTo>
                    <a:pt x="1542186" y="47523"/>
                  </a:lnTo>
                  <a:lnTo>
                    <a:pt x="1539582" y="41529"/>
                  </a:lnTo>
                  <a:lnTo>
                    <a:pt x="1537550" y="38214"/>
                  </a:lnTo>
                  <a:lnTo>
                    <a:pt x="1532699" y="30251"/>
                  </a:lnTo>
                  <a:lnTo>
                    <a:pt x="1498422" y="5524"/>
                  </a:lnTo>
                  <a:lnTo>
                    <a:pt x="1498422" y="66725"/>
                  </a:lnTo>
                  <a:lnTo>
                    <a:pt x="1498422" y="79933"/>
                  </a:lnTo>
                  <a:lnTo>
                    <a:pt x="1483004" y="104025"/>
                  </a:lnTo>
                  <a:lnTo>
                    <a:pt x="1478203" y="106895"/>
                  </a:lnTo>
                  <a:lnTo>
                    <a:pt x="1472895" y="108331"/>
                  </a:lnTo>
                  <a:lnTo>
                    <a:pt x="1461503" y="108331"/>
                  </a:lnTo>
                  <a:lnTo>
                    <a:pt x="1435773" y="79933"/>
                  </a:lnTo>
                  <a:lnTo>
                    <a:pt x="1435760" y="66725"/>
                  </a:lnTo>
                  <a:lnTo>
                    <a:pt x="1437132" y="60655"/>
                  </a:lnTo>
                  <a:lnTo>
                    <a:pt x="1461503" y="38214"/>
                  </a:lnTo>
                  <a:lnTo>
                    <a:pt x="1472895" y="38214"/>
                  </a:lnTo>
                  <a:lnTo>
                    <a:pt x="1498422" y="66725"/>
                  </a:lnTo>
                  <a:lnTo>
                    <a:pt x="1498422" y="5524"/>
                  </a:lnTo>
                  <a:lnTo>
                    <a:pt x="1497901" y="5295"/>
                  </a:lnTo>
                  <a:lnTo>
                    <a:pt x="1487881" y="2349"/>
                  </a:lnTo>
                  <a:lnTo>
                    <a:pt x="1477568" y="584"/>
                  </a:lnTo>
                  <a:lnTo>
                    <a:pt x="1466989" y="0"/>
                  </a:lnTo>
                  <a:lnTo>
                    <a:pt x="1456423" y="584"/>
                  </a:lnTo>
                  <a:lnTo>
                    <a:pt x="1415097" y="16192"/>
                  </a:lnTo>
                  <a:lnTo>
                    <a:pt x="1391805" y="47523"/>
                  </a:lnTo>
                  <a:lnTo>
                    <a:pt x="1387335" y="66725"/>
                  </a:lnTo>
                  <a:lnTo>
                    <a:pt x="1387335" y="79933"/>
                  </a:lnTo>
                  <a:lnTo>
                    <a:pt x="1401292" y="116395"/>
                  </a:lnTo>
                  <a:lnTo>
                    <a:pt x="1436090" y="141351"/>
                  </a:lnTo>
                  <a:lnTo>
                    <a:pt x="1466989" y="146646"/>
                  </a:lnTo>
                  <a:lnTo>
                    <a:pt x="1477568" y="146062"/>
                  </a:lnTo>
                  <a:lnTo>
                    <a:pt x="1518894" y="130454"/>
                  </a:lnTo>
                  <a:lnTo>
                    <a:pt x="1537614" y="108331"/>
                  </a:lnTo>
                  <a:lnTo>
                    <a:pt x="1539582" y="105117"/>
                  </a:lnTo>
                  <a:lnTo>
                    <a:pt x="1542186" y="99123"/>
                  </a:lnTo>
                  <a:lnTo>
                    <a:pt x="1545767" y="86410"/>
                  </a:lnTo>
                  <a:lnTo>
                    <a:pt x="1546656" y="79933"/>
                  </a:lnTo>
                  <a:lnTo>
                    <a:pt x="1546656" y="66725"/>
                  </a:lnTo>
                  <a:close/>
                </a:path>
                <a:path w="1719579" h="146685">
                  <a:moveTo>
                    <a:pt x="1719237" y="143446"/>
                  </a:moveTo>
                  <a:lnTo>
                    <a:pt x="1708543" y="118999"/>
                  </a:lnTo>
                  <a:lnTo>
                    <a:pt x="1693659" y="84950"/>
                  </a:lnTo>
                  <a:lnTo>
                    <a:pt x="1678330" y="49885"/>
                  </a:lnTo>
                  <a:lnTo>
                    <a:pt x="1657921" y="3200"/>
                  </a:lnTo>
                  <a:lnTo>
                    <a:pt x="1647913" y="3200"/>
                  </a:lnTo>
                  <a:lnTo>
                    <a:pt x="1647913" y="84950"/>
                  </a:lnTo>
                  <a:lnTo>
                    <a:pt x="1620659" y="84950"/>
                  </a:lnTo>
                  <a:lnTo>
                    <a:pt x="1634286" y="49885"/>
                  </a:lnTo>
                  <a:lnTo>
                    <a:pt x="1647913" y="84950"/>
                  </a:lnTo>
                  <a:lnTo>
                    <a:pt x="1647913" y="3200"/>
                  </a:lnTo>
                  <a:lnTo>
                    <a:pt x="1611452" y="3200"/>
                  </a:lnTo>
                  <a:lnTo>
                    <a:pt x="1550136" y="143446"/>
                  </a:lnTo>
                  <a:lnTo>
                    <a:pt x="1598218" y="143446"/>
                  </a:lnTo>
                  <a:lnTo>
                    <a:pt x="1607642" y="118999"/>
                  </a:lnTo>
                  <a:lnTo>
                    <a:pt x="1660931" y="118999"/>
                  </a:lnTo>
                  <a:lnTo>
                    <a:pt x="1670354" y="143446"/>
                  </a:lnTo>
                  <a:lnTo>
                    <a:pt x="1719237" y="143446"/>
                  </a:lnTo>
                  <a:close/>
                </a:path>
              </a:pathLst>
            </a:custGeom>
            <a:solidFill>
              <a:srgbClr val="FFFFFF"/>
            </a:solidFill>
          </p:spPr>
          <p:txBody>
            <a:bodyPr wrap="square" lIns="0" tIns="0" rIns="0" bIns="0" rtlCol="0"/>
            <a:lstStyle/>
            <a:p>
              <a:endParaRPr sz="2118"/>
            </a:p>
          </p:txBody>
        </p:sp>
        <p:pic>
          <p:nvPicPr>
            <p:cNvPr id="104" name="object 104"/>
            <p:cNvPicPr/>
            <p:nvPr/>
          </p:nvPicPr>
          <p:blipFill>
            <a:blip r:embed="rId54" cstate="print"/>
            <a:stretch>
              <a:fillRect/>
            </a:stretch>
          </p:blipFill>
          <p:spPr>
            <a:xfrm>
              <a:off x="4252153" y="4201327"/>
              <a:ext cx="286046" cy="143448"/>
            </a:xfrm>
            <a:prstGeom prst="rect">
              <a:avLst/>
            </a:prstGeom>
          </p:spPr>
        </p:pic>
        <p:sp>
          <p:nvSpPr>
            <p:cNvPr id="105" name="object 105"/>
            <p:cNvSpPr/>
            <p:nvPr/>
          </p:nvSpPr>
          <p:spPr>
            <a:xfrm>
              <a:off x="4613529" y="4156062"/>
              <a:ext cx="1365250" cy="189230"/>
            </a:xfrm>
            <a:custGeom>
              <a:avLst/>
              <a:gdLst/>
              <a:ahLst/>
              <a:cxnLst/>
              <a:rect l="l" t="t" r="r" b="b"/>
              <a:pathLst>
                <a:path w="1365250" h="189229">
                  <a:moveTo>
                    <a:pt x="60096" y="97167"/>
                  </a:moveTo>
                  <a:lnTo>
                    <a:pt x="0" y="97167"/>
                  </a:lnTo>
                  <a:lnTo>
                    <a:pt x="0" y="131216"/>
                  </a:lnTo>
                  <a:lnTo>
                    <a:pt x="60096" y="131216"/>
                  </a:lnTo>
                  <a:lnTo>
                    <a:pt x="60096" y="97167"/>
                  </a:lnTo>
                  <a:close/>
                </a:path>
                <a:path w="1365250" h="189229">
                  <a:moveTo>
                    <a:pt x="174904" y="45275"/>
                  </a:moveTo>
                  <a:lnTo>
                    <a:pt x="80530" y="45275"/>
                  </a:lnTo>
                  <a:lnTo>
                    <a:pt x="80530" y="80937"/>
                  </a:lnTo>
                  <a:lnTo>
                    <a:pt x="128219" y="80937"/>
                  </a:lnTo>
                  <a:lnTo>
                    <a:pt x="128219" y="134226"/>
                  </a:lnTo>
                  <a:lnTo>
                    <a:pt x="117449" y="151955"/>
                  </a:lnTo>
                  <a:lnTo>
                    <a:pt x="112991" y="151650"/>
                  </a:lnTo>
                  <a:lnTo>
                    <a:pt x="108915" y="151638"/>
                  </a:lnTo>
                  <a:lnTo>
                    <a:pt x="105168" y="150495"/>
                  </a:lnTo>
                  <a:lnTo>
                    <a:pt x="97510" y="145402"/>
                  </a:lnTo>
                  <a:lnTo>
                    <a:pt x="93840" y="141922"/>
                  </a:lnTo>
                  <a:lnTo>
                    <a:pt x="90754" y="137833"/>
                  </a:lnTo>
                  <a:lnTo>
                    <a:pt x="65303" y="167881"/>
                  </a:lnTo>
                  <a:lnTo>
                    <a:pt x="101765" y="187490"/>
                  </a:lnTo>
                  <a:lnTo>
                    <a:pt x="116801" y="188722"/>
                  </a:lnTo>
                  <a:lnTo>
                    <a:pt x="130251" y="187807"/>
                  </a:lnTo>
                  <a:lnTo>
                    <a:pt x="166611" y="166357"/>
                  </a:lnTo>
                  <a:lnTo>
                    <a:pt x="174904" y="131419"/>
                  </a:lnTo>
                  <a:lnTo>
                    <a:pt x="174904" y="45275"/>
                  </a:lnTo>
                  <a:close/>
                </a:path>
                <a:path w="1365250" h="189229">
                  <a:moveTo>
                    <a:pt x="262763" y="22809"/>
                  </a:moveTo>
                  <a:lnTo>
                    <a:pt x="262547" y="17818"/>
                  </a:lnTo>
                  <a:lnTo>
                    <a:pt x="262737" y="12827"/>
                  </a:lnTo>
                  <a:lnTo>
                    <a:pt x="261073" y="8547"/>
                  </a:lnTo>
                  <a:lnTo>
                    <a:pt x="247015" y="0"/>
                  </a:lnTo>
                  <a:lnTo>
                    <a:pt x="242227" y="0"/>
                  </a:lnTo>
                  <a:lnTo>
                    <a:pt x="226491" y="12827"/>
                  </a:lnTo>
                  <a:lnTo>
                    <a:pt x="226682" y="17818"/>
                  </a:lnTo>
                  <a:lnTo>
                    <a:pt x="226466" y="22809"/>
                  </a:lnTo>
                  <a:lnTo>
                    <a:pt x="242239" y="35445"/>
                  </a:lnTo>
                  <a:lnTo>
                    <a:pt x="247002" y="35445"/>
                  </a:lnTo>
                  <a:lnTo>
                    <a:pt x="261099" y="27051"/>
                  </a:lnTo>
                  <a:lnTo>
                    <a:pt x="262763" y="22809"/>
                  </a:lnTo>
                  <a:close/>
                </a:path>
                <a:path w="1365250" h="189229">
                  <a:moveTo>
                    <a:pt x="307238" y="22809"/>
                  </a:moveTo>
                  <a:lnTo>
                    <a:pt x="307022" y="17818"/>
                  </a:lnTo>
                  <a:lnTo>
                    <a:pt x="307225" y="12827"/>
                  </a:lnTo>
                  <a:lnTo>
                    <a:pt x="305549" y="8547"/>
                  </a:lnTo>
                  <a:lnTo>
                    <a:pt x="291490" y="0"/>
                  </a:lnTo>
                  <a:lnTo>
                    <a:pt x="286702" y="0"/>
                  </a:lnTo>
                  <a:lnTo>
                    <a:pt x="270967" y="12827"/>
                  </a:lnTo>
                  <a:lnTo>
                    <a:pt x="271170" y="17818"/>
                  </a:lnTo>
                  <a:lnTo>
                    <a:pt x="270954" y="22809"/>
                  </a:lnTo>
                  <a:lnTo>
                    <a:pt x="286715" y="35445"/>
                  </a:lnTo>
                  <a:lnTo>
                    <a:pt x="291477" y="35445"/>
                  </a:lnTo>
                  <a:lnTo>
                    <a:pt x="305574" y="27051"/>
                  </a:lnTo>
                  <a:lnTo>
                    <a:pt x="307238" y="22809"/>
                  </a:lnTo>
                  <a:close/>
                </a:path>
                <a:path w="1365250" h="189229">
                  <a:moveTo>
                    <a:pt x="351409" y="185508"/>
                  </a:moveTo>
                  <a:lnTo>
                    <a:pt x="340715" y="161074"/>
                  </a:lnTo>
                  <a:lnTo>
                    <a:pt x="325831" y="127012"/>
                  </a:lnTo>
                  <a:lnTo>
                    <a:pt x="310502" y="91948"/>
                  </a:lnTo>
                  <a:lnTo>
                    <a:pt x="290093" y="45275"/>
                  </a:lnTo>
                  <a:lnTo>
                    <a:pt x="280085" y="45275"/>
                  </a:lnTo>
                  <a:lnTo>
                    <a:pt x="280085" y="127012"/>
                  </a:lnTo>
                  <a:lnTo>
                    <a:pt x="252831" y="127012"/>
                  </a:lnTo>
                  <a:lnTo>
                    <a:pt x="266458" y="91948"/>
                  </a:lnTo>
                  <a:lnTo>
                    <a:pt x="280085" y="127012"/>
                  </a:lnTo>
                  <a:lnTo>
                    <a:pt x="280085" y="45275"/>
                  </a:lnTo>
                  <a:lnTo>
                    <a:pt x="243611" y="45275"/>
                  </a:lnTo>
                  <a:lnTo>
                    <a:pt x="182308" y="185508"/>
                  </a:lnTo>
                  <a:lnTo>
                    <a:pt x="230390" y="185508"/>
                  </a:lnTo>
                  <a:lnTo>
                    <a:pt x="239814" y="161074"/>
                  </a:lnTo>
                  <a:lnTo>
                    <a:pt x="293103" y="161074"/>
                  </a:lnTo>
                  <a:lnTo>
                    <a:pt x="302514" y="185508"/>
                  </a:lnTo>
                  <a:lnTo>
                    <a:pt x="351409" y="185508"/>
                  </a:lnTo>
                  <a:close/>
                </a:path>
                <a:path w="1365250" h="189229">
                  <a:moveTo>
                    <a:pt x="497255" y="185762"/>
                  </a:moveTo>
                  <a:lnTo>
                    <a:pt x="473087" y="150253"/>
                  </a:lnTo>
                  <a:lnTo>
                    <a:pt x="467804" y="142494"/>
                  </a:lnTo>
                  <a:lnTo>
                    <a:pt x="473684" y="139103"/>
                  </a:lnTo>
                  <a:lnTo>
                    <a:pt x="494157" y="105016"/>
                  </a:lnTo>
                  <a:lnTo>
                    <a:pt x="494614" y="93014"/>
                  </a:lnTo>
                  <a:lnTo>
                    <a:pt x="494030" y="88163"/>
                  </a:lnTo>
                  <a:lnTo>
                    <a:pt x="492137" y="81343"/>
                  </a:lnTo>
                  <a:lnTo>
                    <a:pt x="491388" y="78638"/>
                  </a:lnTo>
                  <a:lnTo>
                    <a:pt x="464400" y="51485"/>
                  </a:lnTo>
                  <a:lnTo>
                    <a:pt x="446570" y="46316"/>
                  </a:lnTo>
                  <a:lnTo>
                    <a:pt x="446570" y="95961"/>
                  </a:lnTo>
                  <a:lnTo>
                    <a:pt x="446570" y="100469"/>
                  </a:lnTo>
                  <a:lnTo>
                    <a:pt x="432701" y="115062"/>
                  </a:lnTo>
                  <a:lnTo>
                    <a:pt x="427342" y="114642"/>
                  </a:lnTo>
                  <a:lnTo>
                    <a:pt x="410311" y="114642"/>
                  </a:lnTo>
                  <a:lnTo>
                    <a:pt x="410311" y="81737"/>
                  </a:lnTo>
                  <a:lnTo>
                    <a:pt x="427532" y="81737"/>
                  </a:lnTo>
                  <a:lnTo>
                    <a:pt x="432892" y="81343"/>
                  </a:lnTo>
                  <a:lnTo>
                    <a:pt x="437705" y="82778"/>
                  </a:lnTo>
                  <a:lnTo>
                    <a:pt x="441960" y="86042"/>
                  </a:lnTo>
                  <a:lnTo>
                    <a:pt x="441756" y="86093"/>
                  </a:lnTo>
                  <a:lnTo>
                    <a:pt x="443306" y="87731"/>
                  </a:lnTo>
                  <a:lnTo>
                    <a:pt x="444487" y="89598"/>
                  </a:lnTo>
                  <a:lnTo>
                    <a:pt x="446151" y="93789"/>
                  </a:lnTo>
                  <a:lnTo>
                    <a:pt x="446570" y="95961"/>
                  </a:lnTo>
                  <a:lnTo>
                    <a:pt x="446570" y="46316"/>
                  </a:lnTo>
                  <a:lnTo>
                    <a:pt x="439267" y="45326"/>
                  </a:lnTo>
                  <a:lnTo>
                    <a:pt x="430542" y="45072"/>
                  </a:lnTo>
                  <a:lnTo>
                    <a:pt x="363029" y="45072"/>
                  </a:lnTo>
                  <a:lnTo>
                    <a:pt x="363029" y="185318"/>
                  </a:lnTo>
                  <a:lnTo>
                    <a:pt x="410311" y="185318"/>
                  </a:lnTo>
                  <a:lnTo>
                    <a:pt x="410311" y="150253"/>
                  </a:lnTo>
                  <a:lnTo>
                    <a:pt x="423125" y="150253"/>
                  </a:lnTo>
                  <a:lnTo>
                    <a:pt x="446976" y="185762"/>
                  </a:lnTo>
                  <a:lnTo>
                    <a:pt x="497255" y="185762"/>
                  </a:lnTo>
                  <a:close/>
                </a:path>
                <a:path w="1365250" h="189229">
                  <a:moveTo>
                    <a:pt x="607644" y="45275"/>
                  </a:moveTo>
                  <a:lnTo>
                    <a:pt x="513283" y="45275"/>
                  </a:lnTo>
                  <a:lnTo>
                    <a:pt x="513283" y="80937"/>
                  </a:lnTo>
                  <a:lnTo>
                    <a:pt x="560971" y="80937"/>
                  </a:lnTo>
                  <a:lnTo>
                    <a:pt x="560971" y="134226"/>
                  </a:lnTo>
                  <a:lnTo>
                    <a:pt x="550202" y="151955"/>
                  </a:lnTo>
                  <a:lnTo>
                    <a:pt x="545744" y="151650"/>
                  </a:lnTo>
                  <a:lnTo>
                    <a:pt x="541667" y="151638"/>
                  </a:lnTo>
                  <a:lnTo>
                    <a:pt x="537921" y="150495"/>
                  </a:lnTo>
                  <a:lnTo>
                    <a:pt x="530263" y="145402"/>
                  </a:lnTo>
                  <a:lnTo>
                    <a:pt x="526592" y="141922"/>
                  </a:lnTo>
                  <a:lnTo>
                    <a:pt x="523506" y="137833"/>
                  </a:lnTo>
                  <a:lnTo>
                    <a:pt x="498055" y="167881"/>
                  </a:lnTo>
                  <a:lnTo>
                    <a:pt x="534619" y="187502"/>
                  </a:lnTo>
                  <a:lnTo>
                    <a:pt x="549744" y="188722"/>
                  </a:lnTo>
                  <a:lnTo>
                    <a:pt x="563118" y="187807"/>
                  </a:lnTo>
                  <a:lnTo>
                    <a:pt x="599363" y="166357"/>
                  </a:lnTo>
                  <a:lnTo>
                    <a:pt x="607644" y="131419"/>
                  </a:lnTo>
                  <a:lnTo>
                    <a:pt x="607644" y="45275"/>
                  </a:lnTo>
                  <a:close/>
                </a:path>
                <a:path w="1365250" h="189229">
                  <a:moveTo>
                    <a:pt x="749896" y="149720"/>
                  </a:moveTo>
                  <a:lnTo>
                    <a:pt x="679780" y="149720"/>
                  </a:lnTo>
                  <a:lnTo>
                    <a:pt x="679780" y="130670"/>
                  </a:lnTo>
                  <a:lnTo>
                    <a:pt x="739076" y="130670"/>
                  </a:lnTo>
                  <a:lnTo>
                    <a:pt x="739076" y="97650"/>
                  </a:lnTo>
                  <a:lnTo>
                    <a:pt x="679780" y="97650"/>
                  </a:lnTo>
                  <a:lnTo>
                    <a:pt x="679780" y="81140"/>
                  </a:lnTo>
                  <a:lnTo>
                    <a:pt x="747293" y="81140"/>
                  </a:lnTo>
                  <a:lnTo>
                    <a:pt x="747293" y="45580"/>
                  </a:lnTo>
                  <a:lnTo>
                    <a:pt x="633298" y="45580"/>
                  </a:lnTo>
                  <a:lnTo>
                    <a:pt x="633298" y="81140"/>
                  </a:lnTo>
                  <a:lnTo>
                    <a:pt x="633298" y="97650"/>
                  </a:lnTo>
                  <a:lnTo>
                    <a:pt x="633298" y="130670"/>
                  </a:lnTo>
                  <a:lnTo>
                    <a:pt x="633298" y="149720"/>
                  </a:lnTo>
                  <a:lnTo>
                    <a:pt x="633298" y="185280"/>
                  </a:lnTo>
                  <a:lnTo>
                    <a:pt x="749896" y="185280"/>
                  </a:lnTo>
                  <a:lnTo>
                    <a:pt x="749896" y="149720"/>
                  </a:lnTo>
                  <a:close/>
                </a:path>
                <a:path w="1365250" h="189229">
                  <a:moveTo>
                    <a:pt x="889635" y="149961"/>
                  </a:moveTo>
                  <a:lnTo>
                    <a:pt x="876109" y="111302"/>
                  </a:lnTo>
                  <a:lnTo>
                    <a:pt x="835240" y="97510"/>
                  </a:lnTo>
                  <a:lnTo>
                    <a:pt x="829183" y="96481"/>
                  </a:lnTo>
                  <a:lnTo>
                    <a:pt x="823239" y="94983"/>
                  </a:lnTo>
                  <a:lnTo>
                    <a:pt x="817410" y="93002"/>
                  </a:lnTo>
                  <a:lnTo>
                    <a:pt x="813803" y="91605"/>
                  </a:lnTo>
                  <a:lnTo>
                    <a:pt x="811999" y="89496"/>
                  </a:lnTo>
                  <a:lnTo>
                    <a:pt x="811999" y="80835"/>
                  </a:lnTo>
                  <a:lnTo>
                    <a:pt x="818108" y="77876"/>
                  </a:lnTo>
                  <a:lnTo>
                    <a:pt x="830237" y="77876"/>
                  </a:lnTo>
                  <a:lnTo>
                    <a:pt x="840473" y="78740"/>
                  </a:lnTo>
                  <a:lnTo>
                    <a:pt x="850392" y="80759"/>
                  </a:lnTo>
                  <a:lnTo>
                    <a:pt x="860005" y="83947"/>
                  </a:lnTo>
                  <a:lnTo>
                    <a:pt x="869302" y="88290"/>
                  </a:lnTo>
                  <a:lnTo>
                    <a:pt x="883526" y="54038"/>
                  </a:lnTo>
                  <a:lnTo>
                    <a:pt x="844892" y="42595"/>
                  </a:lnTo>
                  <a:lnTo>
                    <a:pt x="830630" y="41821"/>
                  </a:lnTo>
                  <a:lnTo>
                    <a:pt x="821461" y="42024"/>
                  </a:lnTo>
                  <a:lnTo>
                    <a:pt x="782548" y="54902"/>
                  </a:lnTo>
                  <a:lnTo>
                    <a:pt x="765263" y="80302"/>
                  </a:lnTo>
                  <a:lnTo>
                    <a:pt x="765327" y="89103"/>
                  </a:lnTo>
                  <a:lnTo>
                    <a:pt x="784796" y="123393"/>
                  </a:lnTo>
                  <a:lnTo>
                    <a:pt x="825385" y="134581"/>
                  </a:lnTo>
                  <a:lnTo>
                    <a:pt x="831430" y="136245"/>
                  </a:lnTo>
                  <a:lnTo>
                    <a:pt x="837349" y="138379"/>
                  </a:lnTo>
                  <a:lnTo>
                    <a:pt x="841057" y="139992"/>
                  </a:lnTo>
                  <a:lnTo>
                    <a:pt x="842860" y="142087"/>
                  </a:lnTo>
                  <a:lnTo>
                    <a:pt x="842822" y="147904"/>
                  </a:lnTo>
                  <a:lnTo>
                    <a:pt x="841425" y="149809"/>
                  </a:lnTo>
                  <a:lnTo>
                    <a:pt x="834097" y="152273"/>
                  </a:lnTo>
                  <a:lnTo>
                    <a:pt x="829424" y="152908"/>
                  </a:lnTo>
                  <a:lnTo>
                    <a:pt x="824623" y="152603"/>
                  </a:lnTo>
                  <a:lnTo>
                    <a:pt x="816521" y="152552"/>
                  </a:lnTo>
                  <a:lnTo>
                    <a:pt x="808570" y="151384"/>
                  </a:lnTo>
                  <a:lnTo>
                    <a:pt x="800785" y="149098"/>
                  </a:lnTo>
                  <a:lnTo>
                    <a:pt x="792899" y="146964"/>
                  </a:lnTo>
                  <a:lnTo>
                    <a:pt x="785418" y="143852"/>
                  </a:lnTo>
                  <a:lnTo>
                    <a:pt x="778344" y="139788"/>
                  </a:lnTo>
                  <a:lnTo>
                    <a:pt x="763320" y="174244"/>
                  </a:lnTo>
                  <a:lnTo>
                    <a:pt x="807237" y="187591"/>
                  </a:lnTo>
                  <a:lnTo>
                    <a:pt x="824230" y="188468"/>
                  </a:lnTo>
                  <a:lnTo>
                    <a:pt x="833412" y="188264"/>
                  </a:lnTo>
                  <a:lnTo>
                    <a:pt x="872299" y="175272"/>
                  </a:lnTo>
                  <a:lnTo>
                    <a:pt x="887158" y="157949"/>
                  </a:lnTo>
                  <a:lnTo>
                    <a:pt x="889635" y="149961"/>
                  </a:lnTo>
                  <a:close/>
                </a:path>
                <a:path w="1365250" h="189229">
                  <a:moveTo>
                    <a:pt x="1024572" y="45580"/>
                  </a:moveTo>
                  <a:lnTo>
                    <a:pt x="895146" y="45580"/>
                  </a:lnTo>
                  <a:lnTo>
                    <a:pt x="895146" y="82410"/>
                  </a:lnTo>
                  <a:lnTo>
                    <a:pt x="936218" y="82410"/>
                  </a:lnTo>
                  <a:lnTo>
                    <a:pt x="936218" y="185280"/>
                  </a:lnTo>
                  <a:lnTo>
                    <a:pt x="983297" y="185280"/>
                  </a:lnTo>
                  <a:lnTo>
                    <a:pt x="983297" y="82410"/>
                  </a:lnTo>
                  <a:lnTo>
                    <a:pt x="1024572" y="82410"/>
                  </a:lnTo>
                  <a:lnTo>
                    <a:pt x="1024572" y="45580"/>
                  </a:lnTo>
                  <a:close/>
                </a:path>
                <a:path w="1365250" h="189229">
                  <a:moveTo>
                    <a:pt x="1108227" y="22809"/>
                  </a:moveTo>
                  <a:lnTo>
                    <a:pt x="1108011" y="17818"/>
                  </a:lnTo>
                  <a:lnTo>
                    <a:pt x="1108214" y="12827"/>
                  </a:lnTo>
                  <a:lnTo>
                    <a:pt x="1106538" y="8547"/>
                  </a:lnTo>
                  <a:lnTo>
                    <a:pt x="1092479" y="0"/>
                  </a:lnTo>
                  <a:lnTo>
                    <a:pt x="1087691" y="0"/>
                  </a:lnTo>
                  <a:lnTo>
                    <a:pt x="1071956" y="12827"/>
                  </a:lnTo>
                  <a:lnTo>
                    <a:pt x="1072159" y="17818"/>
                  </a:lnTo>
                  <a:lnTo>
                    <a:pt x="1071943" y="22809"/>
                  </a:lnTo>
                  <a:lnTo>
                    <a:pt x="1087704" y="35445"/>
                  </a:lnTo>
                  <a:lnTo>
                    <a:pt x="1092466" y="35445"/>
                  </a:lnTo>
                  <a:lnTo>
                    <a:pt x="1106563" y="27051"/>
                  </a:lnTo>
                  <a:lnTo>
                    <a:pt x="1108227" y="22809"/>
                  </a:lnTo>
                  <a:close/>
                </a:path>
                <a:path w="1365250" h="189229">
                  <a:moveTo>
                    <a:pt x="1152715" y="22809"/>
                  </a:moveTo>
                  <a:lnTo>
                    <a:pt x="1152499" y="17818"/>
                  </a:lnTo>
                  <a:lnTo>
                    <a:pt x="1152690" y="12827"/>
                  </a:lnTo>
                  <a:lnTo>
                    <a:pt x="1151013" y="8547"/>
                  </a:lnTo>
                  <a:lnTo>
                    <a:pt x="1136954" y="0"/>
                  </a:lnTo>
                  <a:lnTo>
                    <a:pt x="1132166" y="0"/>
                  </a:lnTo>
                  <a:lnTo>
                    <a:pt x="1116444" y="12827"/>
                  </a:lnTo>
                  <a:lnTo>
                    <a:pt x="1116634" y="17818"/>
                  </a:lnTo>
                  <a:lnTo>
                    <a:pt x="1116418" y="22809"/>
                  </a:lnTo>
                  <a:lnTo>
                    <a:pt x="1132179" y="35445"/>
                  </a:lnTo>
                  <a:lnTo>
                    <a:pt x="1136942" y="35445"/>
                  </a:lnTo>
                  <a:lnTo>
                    <a:pt x="1151039" y="27051"/>
                  </a:lnTo>
                  <a:lnTo>
                    <a:pt x="1152715" y="22809"/>
                  </a:lnTo>
                  <a:close/>
                </a:path>
                <a:path w="1365250" h="189229">
                  <a:moveTo>
                    <a:pt x="1191983" y="108788"/>
                  </a:moveTo>
                  <a:lnTo>
                    <a:pt x="1178026" y="72326"/>
                  </a:lnTo>
                  <a:lnTo>
                    <a:pt x="1143749" y="47574"/>
                  </a:lnTo>
                  <a:lnTo>
                    <a:pt x="1143749" y="108788"/>
                  </a:lnTo>
                  <a:lnTo>
                    <a:pt x="1143749" y="121996"/>
                  </a:lnTo>
                  <a:lnTo>
                    <a:pt x="1118019" y="150456"/>
                  </a:lnTo>
                  <a:lnTo>
                    <a:pt x="1106627" y="150456"/>
                  </a:lnTo>
                  <a:lnTo>
                    <a:pt x="1080897" y="121996"/>
                  </a:lnTo>
                  <a:lnTo>
                    <a:pt x="1080897" y="108788"/>
                  </a:lnTo>
                  <a:lnTo>
                    <a:pt x="1106627" y="80327"/>
                  </a:lnTo>
                  <a:lnTo>
                    <a:pt x="1118019" y="80327"/>
                  </a:lnTo>
                  <a:lnTo>
                    <a:pt x="1143749" y="108788"/>
                  </a:lnTo>
                  <a:lnTo>
                    <a:pt x="1143749" y="47574"/>
                  </a:lnTo>
                  <a:lnTo>
                    <a:pt x="1143241" y="47358"/>
                  </a:lnTo>
                  <a:lnTo>
                    <a:pt x="1133208" y="44424"/>
                  </a:lnTo>
                  <a:lnTo>
                    <a:pt x="1122895" y="42659"/>
                  </a:lnTo>
                  <a:lnTo>
                    <a:pt x="1112329" y="42062"/>
                  </a:lnTo>
                  <a:lnTo>
                    <a:pt x="1101750" y="42659"/>
                  </a:lnTo>
                  <a:lnTo>
                    <a:pt x="1060424" y="58267"/>
                  </a:lnTo>
                  <a:lnTo>
                    <a:pt x="1037132" y="89598"/>
                  </a:lnTo>
                  <a:lnTo>
                    <a:pt x="1032662" y="108788"/>
                  </a:lnTo>
                  <a:lnTo>
                    <a:pt x="1032662" y="121996"/>
                  </a:lnTo>
                  <a:lnTo>
                    <a:pt x="1046619" y="158457"/>
                  </a:lnTo>
                  <a:lnTo>
                    <a:pt x="1081417" y="183426"/>
                  </a:lnTo>
                  <a:lnTo>
                    <a:pt x="1112329" y="188722"/>
                  </a:lnTo>
                  <a:lnTo>
                    <a:pt x="1122895" y="188125"/>
                  </a:lnTo>
                  <a:lnTo>
                    <a:pt x="1164221" y="172529"/>
                  </a:lnTo>
                  <a:lnTo>
                    <a:pt x="1187526" y="141185"/>
                  </a:lnTo>
                  <a:lnTo>
                    <a:pt x="1191983" y="121996"/>
                  </a:lnTo>
                  <a:lnTo>
                    <a:pt x="1191983" y="108788"/>
                  </a:lnTo>
                  <a:close/>
                </a:path>
                <a:path w="1365250" h="189229">
                  <a:moveTo>
                    <a:pt x="1275918" y="22809"/>
                  </a:moveTo>
                  <a:lnTo>
                    <a:pt x="1275702" y="17818"/>
                  </a:lnTo>
                  <a:lnTo>
                    <a:pt x="1275905" y="12827"/>
                  </a:lnTo>
                  <a:lnTo>
                    <a:pt x="1274229" y="8547"/>
                  </a:lnTo>
                  <a:lnTo>
                    <a:pt x="1260170" y="0"/>
                  </a:lnTo>
                  <a:lnTo>
                    <a:pt x="1255382" y="0"/>
                  </a:lnTo>
                  <a:lnTo>
                    <a:pt x="1239647" y="12827"/>
                  </a:lnTo>
                  <a:lnTo>
                    <a:pt x="1239850" y="17818"/>
                  </a:lnTo>
                  <a:lnTo>
                    <a:pt x="1239634" y="22809"/>
                  </a:lnTo>
                  <a:lnTo>
                    <a:pt x="1255395" y="35445"/>
                  </a:lnTo>
                  <a:lnTo>
                    <a:pt x="1260157" y="35445"/>
                  </a:lnTo>
                  <a:lnTo>
                    <a:pt x="1274254" y="27051"/>
                  </a:lnTo>
                  <a:lnTo>
                    <a:pt x="1275918" y="22809"/>
                  </a:lnTo>
                  <a:close/>
                </a:path>
                <a:path w="1365250" h="189229">
                  <a:moveTo>
                    <a:pt x="1320406" y="22809"/>
                  </a:moveTo>
                  <a:lnTo>
                    <a:pt x="1320190" y="17818"/>
                  </a:lnTo>
                  <a:lnTo>
                    <a:pt x="1320380" y="12827"/>
                  </a:lnTo>
                  <a:lnTo>
                    <a:pt x="1318704" y="8547"/>
                  </a:lnTo>
                  <a:lnTo>
                    <a:pt x="1304645" y="0"/>
                  </a:lnTo>
                  <a:lnTo>
                    <a:pt x="1299857" y="0"/>
                  </a:lnTo>
                  <a:lnTo>
                    <a:pt x="1284135" y="12827"/>
                  </a:lnTo>
                  <a:lnTo>
                    <a:pt x="1284325" y="17818"/>
                  </a:lnTo>
                  <a:lnTo>
                    <a:pt x="1284109" y="22809"/>
                  </a:lnTo>
                  <a:lnTo>
                    <a:pt x="1299870" y="35445"/>
                  </a:lnTo>
                  <a:lnTo>
                    <a:pt x="1304632" y="35445"/>
                  </a:lnTo>
                  <a:lnTo>
                    <a:pt x="1318729" y="27051"/>
                  </a:lnTo>
                  <a:lnTo>
                    <a:pt x="1320406" y="22809"/>
                  </a:lnTo>
                  <a:close/>
                </a:path>
                <a:path w="1365250" h="189229">
                  <a:moveTo>
                    <a:pt x="1364767" y="185508"/>
                  </a:moveTo>
                  <a:lnTo>
                    <a:pt x="1354074" y="161074"/>
                  </a:lnTo>
                  <a:lnTo>
                    <a:pt x="1339189" y="127012"/>
                  </a:lnTo>
                  <a:lnTo>
                    <a:pt x="1323860" y="91948"/>
                  </a:lnTo>
                  <a:lnTo>
                    <a:pt x="1303451" y="45275"/>
                  </a:lnTo>
                  <a:lnTo>
                    <a:pt x="1293241" y="45275"/>
                  </a:lnTo>
                  <a:lnTo>
                    <a:pt x="1293241" y="127012"/>
                  </a:lnTo>
                  <a:lnTo>
                    <a:pt x="1265986" y="127012"/>
                  </a:lnTo>
                  <a:lnTo>
                    <a:pt x="1279613" y="91948"/>
                  </a:lnTo>
                  <a:lnTo>
                    <a:pt x="1293241" y="127012"/>
                  </a:lnTo>
                  <a:lnTo>
                    <a:pt x="1293241" y="45275"/>
                  </a:lnTo>
                  <a:lnTo>
                    <a:pt x="1256969" y="45275"/>
                  </a:lnTo>
                  <a:lnTo>
                    <a:pt x="1195666" y="185508"/>
                  </a:lnTo>
                  <a:lnTo>
                    <a:pt x="1243749" y="185508"/>
                  </a:lnTo>
                  <a:lnTo>
                    <a:pt x="1252969" y="161074"/>
                  </a:lnTo>
                  <a:lnTo>
                    <a:pt x="1306258" y="161074"/>
                  </a:lnTo>
                  <a:lnTo>
                    <a:pt x="1315872" y="185508"/>
                  </a:lnTo>
                  <a:lnTo>
                    <a:pt x="1364767" y="185508"/>
                  </a:lnTo>
                  <a:close/>
                </a:path>
              </a:pathLst>
            </a:custGeom>
            <a:solidFill>
              <a:srgbClr val="FFFFFF"/>
            </a:solidFill>
          </p:spPr>
          <p:txBody>
            <a:bodyPr wrap="square" lIns="0" tIns="0" rIns="0" bIns="0" rtlCol="0"/>
            <a:lstStyle/>
            <a:p>
              <a:endParaRPr sz="2118"/>
            </a:p>
          </p:txBody>
        </p:sp>
        <p:sp>
          <p:nvSpPr>
            <p:cNvPr id="106" name="object 106"/>
            <p:cNvSpPr/>
            <p:nvPr/>
          </p:nvSpPr>
          <p:spPr>
            <a:xfrm>
              <a:off x="3845941" y="1622107"/>
              <a:ext cx="1499870" cy="440055"/>
            </a:xfrm>
            <a:custGeom>
              <a:avLst/>
              <a:gdLst/>
              <a:ahLst/>
              <a:cxnLst/>
              <a:rect l="l" t="t" r="r" b="b"/>
              <a:pathLst>
                <a:path w="1499870" h="440055">
                  <a:moveTo>
                    <a:pt x="213969" y="9055"/>
                  </a:moveTo>
                  <a:lnTo>
                    <a:pt x="0" y="9055"/>
                  </a:lnTo>
                  <a:lnTo>
                    <a:pt x="0" y="117005"/>
                  </a:lnTo>
                  <a:lnTo>
                    <a:pt x="72123" y="117005"/>
                  </a:lnTo>
                  <a:lnTo>
                    <a:pt x="72123" y="430695"/>
                  </a:lnTo>
                  <a:lnTo>
                    <a:pt x="213969" y="430695"/>
                  </a:lnTo>
                  <a:lnTo>
                    <a:pt x="213969" y="117005"/>
                  </a:lnTo>
                  <a:lnTo>
                    <a:pt x="213969" y="9055"/>
                  </a:lnTo>
                  <a:close/>
                </a:path>
                <a:path w="1499870" h="440055">
                  <a:moveTo>
                    <a:pt x="671360" y="305333"/>
                  </a:moveTo>
                  <a:lnTo>
                    <a:pt x="663282" y="262851"/>
                  </a:lnTo>
                  <a:lnTo>
                    <a:pt x="638251" y="226618"/>
                  </a:lnTo>
                  <a:lnTo>
                    <a:pt x="614870" y="208559"/>
                  </a:lnTo>
                  <a:lnTo>
                    <a:pt x="633006" y="191058"/>
                  </a:lnTo>
                  <a:lnTo>
                    <a:pt x="645972" y="171399"/>
                  </a:lnTo>
                  <a:lnTo>
                    <a:pt x="647293" y="167690"/>
                  </a:lnTo>
                  <a:lnTo>
                    <a:pt x="653745" y="149580"/>
                  </a:lnTo>
                  <a:lnTo>
                    <a:pt x="656336" y="125615"/>
                  </a:lnTo>
                  <a:lnTo>
                    <a:pt x="655231" y="107645"/>
                  </a:lnTo>
                  <a:lnTo>
                    <a:pt x="652373" y="95567"/>
                  </a:lnTo>
                  <a:lnTo>
                    <a:pt x="651205" y="90627"/>
                  </a:lnTo>
                  <a:lnTo>
                    <a:pt x="621347" y="45364"/>
                  </a:lnTo>
                  <a:lnTo>
                    <a:pt x="573100" y="15633"/>
                  </a:lnTo>
                  <a:lnTo>
                    <a:pt x="528916" y="4000"/>
                  </a:lnTo>
                  <a:lnTo>
                    <a:pt x="528916" y="294576"/>
                  </a:lnTo>
                  <a:lnTo>
                    <a:pt x="528916" y="306476"/>
                  </a:lnTo>
                  <a:lnTo>
                    <a:pt x="506095" y="339242"/>
                  </a:lnTo>
                  <a:lnTo>
                    <a:pt x="488734" y="344398"/>
                  </a:lnTo>
                  <a:lnTo>
                    <a:pt x="476554" y="344398"/>
                  </a:lnTo>
                  <a:lnTo>
                    <a:pt x="441947" y="323227"/>
                  </a:lnTo>
                  <a:lnTo>
                    <a:pt x="436359" y="306476"/>
                  </a:lnTo>
                  <a:lnTo>
                    <a:pt x="436359" y="294576"/>
                  </a:lnTo>
                  <a:lnTo>
                    <a:pt x="459181" y="261810"/>
                  </a:lnTo>
                  <a:lnTo>
                    <a:pt x="476542" y="256641"/>
                  </a:lnTo>
                  <a:lnTo>
                    <a:pt x="488734" y="256641"/>
                  </a:lnTo>
                  <a:lnTo>
                    <a:pt x="523328" y="277825"/>
                  </a:lnTo>
                  <a:lnTo>
                    <a:pt x="528916" y="294576"/>
                  </a:lnTo>
                  <a:lnTo>
                    <a:pt x="528916" y="4000"/>
                  </a:lnTo>
                  <a:lnTo>
                    <a:pt x="528535" y="3911"/>
                  </a:lnTo>
                  <a:lnTo>
                    <a:pt x="516305" y="2336"/>
                  </a:lnTo>
                  <a:lnTo>
                    <a:pt x="516305" y="126822"/>
                  </a:lnTo>
                  <a:lnTo>
                    <a:pt x="516305" y="136436"/>
                  </a:lnTo>
                  <a:lnTo>
                    <a:pt x="491515" y="166865"/>
                  </a:lnTo>
                  <a:lnTo>
                    <a:pt x="487159" y="167690"/>
                  </a:lnTo>
                  <a:lnTo>
                    <a:pt x="478116" y="167690"/>
                  </a:lnTo>
                  <a:lnTo>
                    <a:pt x="449770" y="141109"/>
                  </a:lnTo>
                  <a:lnTo>
                    <a:pt x="448970" y="136436"/>
                  </a:lnTo>
                  <a:lnTo>
                    <a:pt x="448970" y="126822"/>
                  </a:lnTo>
                  <a:lnTo>
                    <a:pt x="473760" y="96393"/>
                  </a:lnTo>
                  <a:lnTo>
                    <a:pt x="478116" y="95567"/>
                  </a:lnTo>
                  <a:lnTo>
                    <a:pt x="487159" y="95567"/>
                  </a:lnTo>
                  <a:lnTo>
                    <a:pt x="515505" y="122148"/>
                  </a:lnTo>
                  <a:lnTo>
                    <a:pt x="516305" y="126822"/>
                  </a:lnTo>
                  <a:lnTo>
                    <a:pt x="516305" y="2336"/>
                  </a:lnTo>
                  <a:lnTo>
                    <a:pt x="505764" y="977"/>
                  </a:lnTo>
                  <a:lnTo>
                    <a:pt x="482638" y="0"/>
                  </a:lnTo>
                  <a:lnTo>
                    <a:pt x="459524" y="977"/>
                  </a:lnTo>
                  <a:lnTo>
                    <a:pt x="414286" y="8788"/>
                  </a:lnTo>
                  <a:lnTo>
                    <a:pt x="374586" y="23418"/>
                  </a:lnTo>
                  <a:lnTo>
                    <a:pt x="330873" y="59499"/>
                  </a:lnTo>
                  <a:lnTo>
                    <a:pt x="310045" y="107645"/>
                  </a:lnTo>
                  <a:lnTo>
                    <a:pt x="308940" y="125615"/>
                  </a:lnTo>
                  <a:lnTo>
                    <a:pt x="311531" y="149517"/>
                  </a:lnTo>
                  <a:lnTo>
                    <a:pt x="319303" y="171297"/>
                  </a:lnTo>
                  <a:lnTo>
                    <a:pt x="332270" y="190982"/>
                  </a:lnTo>
                  <a:lnTo>
                    <a:pt x="350405" y="208559"/>
                  </a:lnTo>
                  <a:lnTo>
                    <a:pt x="338099" y="216954"/>
                  </a:lnTo>
                  <a:lnTo>
                    <a:pt x="308635" y="249732"/>
                  </a:lnTo>
                  <a:lnTo>
                    <a:pt x="294627" y="290652"/>
                  </a:lnTo>
                  <a:lnTo>
                    <a:pt x="293916" y="305333"/>
                  </a:lnTo>
                  <a:lnTo>
                    <a:pt x="294157" y="314896"/>
                  </a:lnTo>
                  <a:lnTo>
                    <a:pt x="307263" y="360299"/>
                  </a:lnTo>
                  <a:lnTo>
                    <a:pt x="331838" y="391579"/>
                  </a:lnTo>
                  <a:lnTo>
                    <a:pt x="365188" y="415175"/>
                  </a:lnTo>
                  <a:lnTo>
                    <a:pt x="408419" y="430669"/>
                  </a:lnTo>
                  <a:lnTo>
                    <a:pt x="457555" y="438924"/>
                  </a:lnTo>
                  <a:lnTo>
                    <a:pt x="482638" y="439953"/>
                  </a:lnTo>
                  <a:lnTo>
                    <a:pt x="507733" y="438924"/>
                  </a:lnTo>
                  <a:lnTo>
                    <a:pt x="556856" y="430669"/>
                  </a:lnTo>
                  <a:lnTo>
                    <a:pt x="600087" y="415175"/>
                  </a:lnTo>
                  <a:lnTo>
                    <a:pt x="633450" y="391579"/>
                  </a:lnTo>
                  <a:lnTo>
                    <a:pt x="658025" y="360299"/>
                  </a:lnTo>
                  <a:lnTo>
                    <a:pt x="671118" y="314896"/>
                  </a:lnTo>
                  <a:lnTo>
                    <a:pt x="671360" y="305333"/>
                  </a:lnTo>
                  <a:close/>
                </a:path>
                <a:path w="1499870" h="440055">
                  <a:moveTo>
                    <a:pt x="1078268" y="292112"/>
                  </a:moveTo>
                  <a:lnTo>
                    <a:pt x="1067828" y="237794"/>
                  </a:lnTo>
                  <a:lnTo>
                    <a:pt x="1036497" y="195046"/>
                  </a:lnTo>
                  <a:lnTo>
                    <a:pt x="983005" y="167271"/>
                  </a:lnTo>
                  <a:lnTo>
                    <a:pt x="906373" y="157873"/>
                  </a:lnTo>
                  <a:lnTo>
                    <a:pt x="884732" y="157873"/>
                  </a:lnTo>
                  <a:lnTo>
                    <a:pt x="887742" y="116408"/>
                  </a:lnTo>
                  <a:lnTo>
                    <a:pt x="1050620" y="116408"/>
                  </a:lnTo>
                  <a:lnTo>
                    <a:pt x="1050620" y="9423"/>
                  </a:lnTo>
                  <a:lnTo>
                    <a:pt x="771144" y="9423"/>
                  </a:lnTo>
                  <a:lnTo>
                    <a:pt x="750100" y="264858"/>
                  </a:lnTo>
                  <a:lnTo>
                    <a:pt x="872020" y="264858"/>
                  </a:lnTo>
                  <a:lnTo>
                    <a:pt x="888746" y="265328"/>
                  </a:lnTo>
                  <a:lnTo>
                    <a:pt x="926439" y="274434"/>
                  </a:lnTo>
                  <a:lnTo>
                    <a:pt x="936053" y="290118"/>
                  </a:lnTo>
                  <a:lnTo>
                    <a:pt x="935926" y="294919"/>
                  </a:lnTo>
                  <a:lnTo>
                    <a:pt x="935939" y="300113"/>
                  </a:lnTo>
                  <a:lnTo>
                    <a:pt x="901141" y="326250"/>
                  </a:lnTo>
                  <a:lnTo>
                    <a:pt x="880529" y="327977"/>
                  </a:lnTo>
                  <a:lnTo>
                    <a:pt x="866140" y="327418"/>
                  </a:lnTo>
                  <a:lnTo>
                    <a:pt x="823734" y="320154"/>
                  </a:lnTo>
                  <a:lnTo>
                    <a:pt x="781481" y="304368"/>
                  </a:lnTo>
                  <a:lnTo>
                    <a:pt x="768134" y="297319"/>
                  </a:lnTo>
                  <a:lnTo>
                    <a:pt x="720051" y="401904"/>
                  </a:lnTo>
                  <a:lnTo>
                    <a:pt x="757605" y="418934"/>
                  </a:lnTo>
                  <a:lnTo>
                    <a:pt x="797280" y="430149"/>
                  </a:lnTo>
                  <a:lnTo>
                    <a:pt x="841349" y="437349"/>
                  </a:lnTo>
                  <a:lnTo>
                    <a:pt x="885939" y="439762"/>
                  </a:lnTo>
                  <a:lnTo>
                    <a:pt x="916774" y="438556"/>
                  </a:lnTo>
                  <a:lnTo>
                    <a:pt x="970572" y="428294"/>
                  </a:lnTo>
                  <a:lnTo>
                    <a:pt x="1013752" y="408076"/>
                  </a:lnTo>
                  <a:lnTo>
                    <a:pt x="1045756" y="381025"/>
                  </a:lnTo>
                  <a:lnTo>
                    <a:pt x="1066711" y="348018"/>
                  </a:lnTo>
                  <a:lnTo>
                    <a:pt x="1077074" y="311492"/>
                  </a:lnTo>
                  <a:lnTo>
                    <a:pt x="1078268" y="292112"/>
                  </a:lnTo>
                  <a:close/>
                </a:path>
                <a:path w="1499870" h="440055">
                  <a:moveTo>
                    <a:pt x="1499400" y="206756"/>
                  </a:moveTo>
                  <a:lnTo>
                    <a:pt x="1498295" y="183921"/>
                  </a:lnTo>
                  <a:lnTo>
                    <a:pt x="1497838" y="174421"/>
                  </a:lnTo>
                  <a:lnTo>
                    <a:pt x="1493139" y="144703"/>
                  </a:lnTo>
                  <a:lnTo>
                    <a:pt x="1476514" y="97967"/>
                  </a:lnTo>
                  <a:lnTo>
                    <a:pt x="1444510" y="52768"/>
                  </a:lnTo>
                  <a:lnTo>
                    <a:pt x="1403731" y="23444"/>
                  </a:lnTo>
                  <a:lnTo>
                    <a:pt x="1354543" y="5918"/>
                  </a:lnTo>
                  <a:lnTo>
                    <a:pt x="1350645" y="5308"/>
                  </a:lnTo>
                  <a:lnTo>
                    <a:pt x="1350645" y="140652"/>
                  </a:lnTo>
                  <a:lnTo>
                    <a:pt x="1350238" y="149529"/>
                  </a:lnTo>
                  <a:lnTo>
                    <a:pt x="1318679" y="182918"/>
                  </a:lnTo>
                  <a:lnTo>
                    <a:pt x="1313116" y="183921"/>
                  </a:lnTo>
                  <a:lnTo>
                    <a:pt x="1301623" y="183921"/>
                  </a:lnTo>
                  <a:lnTo>
                    <a:pt x="1266647" y="157746"/>
                  </a:lnTo>
                  <a:lnTo>
                    <a:pt x="1264094" y="140652"/>
                  </a:lnTo>
                  <a:lnTo>
                    <a:pt x="1264488" y="131826"/>
                  </a:lnTo>
                  <a:lnTo>
                    <a:pt x="1296098" y="98958"/>
                  </a:lnTo>
                  <a:lnTo>
                    <a:pt x="1301648" y="97967"/>
                  </a:lnTo>
                  <a:lnTo>
                    <a:pt x="1313091" y="97967"/>
                  </a:lnTo>
                  <a:lnTo>
                    <a:pt x="1348117" y="123672"/>
                  </a:lnTo>
                  <a:lnTo>
                    <a:pt x="1350645" y="140652"/>
                  </a:lnTo>
                  <a:lnTo>
                    <a:pt x="1350645" y="5308"/>
                  </a:lnTo>
                  <a:lnTo>
                    <a:pt x="1327073" y="1574"/>
                  </a:lnTo>
                  <a:lnTo>
                    <a:pt x="1297698" y="203"/>
                  </a:lnTo>
                  <a:lnTo>
                    <a:pt x="1275308" y="1104"/>
                  </a:lnTo>
                  <a:lnTo>
                    <a:pt x="1232039" y="10121"/>
                  </a:lnTo>
                  <a:lnTo>
                    <a:pt x="1192974" y="27838"/>
                  </a:lnTo>
                  <a:lnTo>
                    <a:pt x="1162164" y="53695"/>
                  </a:lnTo>
                  <a:lnTo>
                    <a:pt x="1139393" y="87998"/>
                  </a:lnTo>
                  <a:lnTo>
                    <a:pt x="1128128" y="126758"/>
                  </a:lnTo>
                  <a:lnTo>
                    <a:pt x="1127010" y="147459"/>
                  </a:lnTo>
                  <a:lnTo>
                    <a:pt x="1128064" y="166116"/>
                  </a:lnTo>
                  <a:lnTo>
                    <a:pt x="1147038" y="217576"/>
                  </a:lnTo>
                  <a:lnTo>
                    <a:pt x="1184275" y="255905"/>
                  </a:lnTo>
                  <a:lnTo>
                    <a:pt x="1234567" y="277698"/>
                  </a:lnTo>
                  <a:lnTo>
                    <a:pt x="1271206" y="281686"/>
                  </a:lnTo>
                  <a:lnTo>
                    <a:pt x="1295361" y="280225"/>
                  </a:lnTo>
                  <a:lnTo>
                    <a:pt x="1317332" y="275831"/>
                  </a:lnTo>
                  <a:lnTo>
                    <a:pt x="1337132" y="268503"/>
                  </a:lnTo>
                  <a:lnTo>
                    <a:pt x="1354747" y="258254"/>
                  </a:lnTo>
                  <a:lnTo>
                    <a:pt x="1353121" y="265976"/>
                  </a:lnTo>
                  <a:lnTo>
                    <a:pt x="1335074" y="300507"/>
                  </a:lnTo>
                  <a:lnTo>
                    <a:pt x="1296822" y="325196"/>
                  </a:lnTo>
                  <a:lnTo>
                    <a:pt x="1263396" y="329768"/>
                  </a:lnTo>
                  <a:lnTo>
                    <a:pt x="1242949" y="328879"/>
                  </a:lnTo>
                  <a:lnTo>
                    <a:pt x="1223416" y="324878"/>
                  </a:lnTo>
                  <a:lnTo>
                    <a:pt x="1204785" y="317766"/>
                  </a:lnTo>
                  <a:lnTo>
                    <a:pt x="1187056" y="307530"/>
                  </a:lnTo>
                  <a:lnTo>
                    <a:pt x="1135976" y="406704"/>
                  </a:lnTo>
                  <a:lnTo>
                    <a:pt x="1178941" y="426770"/>
                  </a:lnTo>
                  <a:lnTo>
                    <a:pt x="1230058" y="437667"/>
                  </a:lnTo>
                  <a:lnTo>
                    <a:pt x="1266393" y="439762"/>
                  </a:lnTo>
                  <a:lnTo>
                    <a:pt x="1300175" y="438061"/>
                  </a:lnTo>
                  <a:lnTo>
                    <a:pt x="1361236" y="424434"/>
                  </a:lnTo>
                  <a:lnTo>
                    <a:pt x="1401203" y="405307"/>
                  </a:lnTo>
                  <a:lnTo>
                    <a:pt x="1435430" y="378383"/>
                  </a:lnTo>
                  <a:lnTo>
                    <a:pt x="1462849" y="344563"/>
                  </a:lnTo>
                  <a:lnTo>
                    <a:pt x="1483004" y="304241"/>
                  </a:lnTo>
                  <a:lnTo>
                    <a:pt x="1494790" y="258254"/>
                  </a:lnTo>
                  <a:lnTo>
                    <a:pt x="1497584" y="241630"/>
                  </a:lnTo>
                  <a:lnTo>
                    <a:pt x="1499400" y="206756"/>
                  </a:lnTo>
                  <a:close/>
                </a:path>
              </a:pathLst>
            </a:custGeom>
            <a:solidFill>
              <a:srgbClr val="F72E40"/>
            </a:solidFill>
          </p:spPr>
          <p:txBody>
            <a:bodyPr wrap="square" lIns="0" tIns="0" rIns="0" bIns="0" rtlCol="0"/>
            <a:lstStyle/>
            <a:p>
              <a:endParaRPr sz="2118"/>
            </a:p>
          </p:txBody>
        </p:sp>
        <p:pic>
          <p:nvPicPr>
            <p:cNvPr id="107" name="object 107"/>
            <p:cNvPicPr/>
            <p:nvPr/>
          </p:nvPicPr>
          <p:blipFill>
            <a:blip r:embed="rId55" cstate="print"/>
            <a:stretch>
              <a:fillRect/>
            </a:stretch>
          </p:blipFill>
          <p:spPr>
            <a:xfrm>
              <a:off x="3833777" y="1212142"/>
              <a:ext cx="88204" cy="111894"/>
            </a:xfrm>
            <a:prstGeom prst="rect">
              <a:avLst/>
            </a:prstGeom>
          </p:spPr>
        </p:pic>
        <p:sp>
          <p:nvSpPr>
            <p:cNvPr id="108" name="object 108"/>
            <p:cNvSpPr/>
            <p:nvPr/>
          </p:nvSpPr>
          <p:spPr>
            <a:xfrm>
              <a:off x="3960190" y="1212062"/>
              <a:ext cx="79375" cy="111760"/>
            </a:xfrm>
            <a:custGeom>
              <a:avLst/>
              <a:gdLst/>
              <a:ahLst/>
              <a:cxnLst/>
              <a:rect l="l" t="t" r="r" b="b"/>
              <a:pathLst>
                <a:path w="79375" h="111759">
                  <a:moveTo>
                    <a:pt x="79336" y="101600"/>
                  </a:moveTo>
                  <a:lnTo>
                    <a:pt x="11823" y="101600"/>
                  </a:lnTo>
                  <a:lnTo>
                    <a:pt x="11823" y="59690"/>
                  </a:lnTo>
                  <a:lnTo>
                    <a:pt x="69875" y="59690"/>
                  </a:lnTo>
                  <a:lnTo>
                    <a:pt x="69875" y="50800"/>
                  </a:lnTo>
                  <a:lnTo>
                    <a:pt x="11823" y="50800"/>
                  </a:lnTo>
                  <a:lnTo>
                    <a:pt x="11823" y="10160"/>
                  </a:lnTo>
                  <a:lnTo>
                    <a:pt x="76936" y="10160"/>
                  </a:lnTo>
                  <a:lnTo>
                    <a:pt x="76936" y="0"/>
                  </a:lnTo>
                  <a:lnTo>
                    <a:pt x="0" y="0"/>
                  </a:lnTo>
                  <a:lnTo>
                    <a:pt x="0" y="10160"/>
                  </a:lnTo>
                  <a:lnTo>
                    <a:pt x="0" y="50800"/>
                  </a:lnTo>
                  <a:lnTo>
                    <a:pt x="0" y="59690"/>
                  </a:lnTo>
                  <a:lnTo>
                    <a:pt x="0" y="101600"/>
                  </a:lnTo>
                  <a:lnTo>
                    <a:pt x="0" y="111760"/>
                  </a:lnTo>
                  <a:lnTo>
                    <a:pt x="79336" y="111760"/>
                  </a:lnTo>
                  <a:lnTo>
                    <a:pt x="79336" y="101600"/>
                  </a:lnTo>
                  <a:close/>
                </a:path>
              </a:pathLst>
            </a:custGeom>
            <a:solidFill>
              <a:srgbClr val="000000"/>
            </a:solidFill>
          </p:spPr>
          <p:txBody>
            <a:bodyPr wrap="square" lIns="0" tIns="0" rIns="0" bIns="0" rtlCol="0"/>
            <a:lstStyle/>
            <a:p>
              <a:endParaRPr sz="2118"/>
            </a:p>
          </p:txBody>
        </p:sp>
        <p:pic>
          <p:nvPicPr>
            <p:cNvPr id="109" name="object 109"/>
            <p:cNvPicPr/>
            <p:nvPr/>
          </p:nvPicPr>
          <p:blipFill>
            <a:blip r:embed="rId56" cstate="print"/>
            <a:stretch>
              <a:fillRect/>
            </a:stretch>
          </p:blipFill>
          <p:spPr>
            <a:xfrm>
              <a:off x="4080205" y="1212142"/>
              <a:ext cx="89605" cy="112194"/>
            </a:xfrm>
            <a:prstGeom prst="rect">
              <a:avLst/>
            </a:prstGeom>
          </p:spPr>
        </p:pic>
        <p:pic>
          <p:nvPicPr>
            <p:cNvPr id="110" name="object 110"/>
            <p:cNvPicPr/>
            <p:nvPr/>
          </p:nvPicPr>
          <p:blipFill>
            <a:blip r:embed="rId57" cstate="print"/>
            <a:stretch>
              <a:fillRect/>
            </a:stretch>
          </p:blipFill>
          <p:spPr>
            <a:xfrm>
              <a:off x="4207976" y="1212142"/>
              <a:ext cx="92160" cy="113146"/>
            </a:xfrm>
            <a:prstGeom prst="rect">
              <a:avLst/>
            </a:prstGeom>
          </p:spPr>
        </p:pic>
        <p:pic>
          <p:nvPicPr>
            <p:cNvPr id="111" name="object 111"/>
            <p:cNvPicPr/>
            <p:nvPr/>
          </p:nvPicPr>
          <p:blipFill>
            <a:blip r:embed="rId58" cstate="print"/>
            <a:stretch>
              <a:fillRect/>
            </a:stretch>
          </p:blipFill>
          <p:spPr>
            <a:xfrm>
              <a:off x="4337951" y="1210942"/>
              <a:ext cx="83487" cy="114833"/>
            </a:xfrm>
            <a:prstGeom prst="rect">
              <a:avLst/>
            </a:prstGeom>
          </p:spPr>
        </p:pic>
        <p:sp>
          <p:nvSpPr>
            <p:cNvPr id="112" name="object 112"/>
            <p:cNvSpPr/>
            <p:nvPr/>
          </p:nvSpPr>
          <p:spPr>
            <a:xfrm>
              <a:off x="4440821" y="1212062"/>
              <a:ext cx="422275" cy="111760"/>
            </a:xfrm>
            <a:custGeom>
              <a:avLst/>
              <a:gdLst/>
              <a:ahLst/>
              <a:cxnLst/>
              <a:rect l="l" t="t" r="r" b="b"/>
              <a:pathLst>
                <a:path w="422275" h="111759">
                  <a:moveTo>
                    <a:pt x="90716" y="0"/>
                  </a:moveTo>
                  <a:lnTo>
                    <a:pt x="0" y="0"/>
                  </a:lnTo>
                  <a:lnTo>
                    <a:pt x="0" y="10160"/>
                  </a:lnTo>
                  <a:lnTo>
                    <a:pt x="39420" y="10160"/>
                  </a:lnTo>
                  <a:lnTo>
                    <a:pt x="39420" y="111760"/>
                  </a:lnTo>
                  <a:lnTo>
                    <a:pt x="51295" y="111760"/>
                  </a:lnTo>
                  <a:lnTo>
                    <a:pt x="51295" y="10160"/>
                  </a:lnTo>
                  <a:lnTo>
                    <a:pt x="90716" y="10160"/>
                  </a:lnTo>
                  <a:lnTo>
                    <a:pt x="90716" y="0"/>
                  </a:lnTo>
                  <a:close/>
                </a:path>
                <a:path w="422275" h="111759">
                  <a:moveTo>
                    <a:pt x="201803" y="101600"/>
                  </a:moveTo>
                  <a:lnTo>
                    <a:pt x="134239" y="101600"/>
                  </a:lnTo>
                  <a:lnTo>
                    <a:pt x="134239" y="59690"/>
                  </a:lnTo>
                  <a:lnTo>
                    <a:pt x="192341" y="59690"/>
                  </a:lnTo>
                  <a:lnTo>
                    <a:pt x="192341" y="50800"/>
                  </a:lnTo>
                  <a:lnTo>
                    <a:pt x="134239" y="50800"/>
                  </a:lnTo>
                  <a:lnTo>
                    <a:pt x="134239" y="10160"/>
                  </a:lnTo>
                  <a:lnTo>
                    <a:pt x="199351" y="10160"/>
                  </a:lnTo>
                  <a:lnTo>
                    <a:pt x="199351" y="0"/>
                  </a:lnTo>
                  <a:lnTo>
                    <a:pt x="122466" y="0"/>
                  </a:lnTo>
                  <a:lnTo>
                    <a:pt x="122466" y="10160"/>
                  </a:lnTo>
                  <a:lnTo>
                    <a:pt x="122466" y="50800"/>
                  </a:lnTo>
                  <a:lnTo>
                    <a:pt x="122466" y="59690"/>
                  </a:lnTo>
                  <a:lnTo>
                    <a:pt x="122466" y="101600"/>
                  </a:lnTo>
                  <a:lnTo>
                    <a:pt x="122466" y="111760"/>
                  </a:lnTo>
                  <a:lnTo>
                    <a:pt x="201803" y="111760"/>
                  </a:lnTo>
                  <a:lnTo>
                    <a:pt x="201803" y="101600"/>
                  </a:lnTo>
                  <a:close/>
                </a:path>
                <a:path w="422275" h="111759">
                  <a:moveTo>
                    <a:pt x="315595" y="0"/>
                  </a:moveTo>
                  <a:lnTo>
                    <a:pt x="224891" y="0"/>
                  </a:lnTo>
                  <a:lnTo>
                    <a:pt x="224891" y="10160"/>
                  </a:lnTo>
                  <a:lnTo>
                    <a:pt x="264464" y="10160"/>
                  </a:lnTo>
                  <a:lnTo>
                    <a:pt x="264464" y="111760"/>
                  </a:lnTo>
                  <a:lnTo>
                    <a:pt x="276186" y="111760"/>
                  </a:lnTo>
                  <a:lnTo>
                    <a:pt x="276186" y="10160"/>
                  </a:lnTo>
                  <a:lnTo>
                    <a:pt x="315595" y="10160"/>
                  </a:lnTo>
                  <a:lnTo>
                    <a:pt x="315595" y="0"/>
                  </a:lnTo>
                  <a:close/>
                </a:path>
                <a:path w="422275" h="111759">
                  <a:moveTo>
                    <a:pt x="422033" y="0"/>
                  </a:moveTo>
                  <a:lnTo>
                    <a:pt x="331330" y="0"/>
                  </a:lnTo>
                  <a:lnTo>
                    <a:pt x="331330" y="10160"/>
                  </a:lnTo>
                  <a:lnTo>
                    <a:pt x="370751" y="10160"/>
                  </a:lnTo>
                  <a:lnTo>
                    <a:pt x="370751" y="111760"/>
                  </a:lnTo>
                  <a:lnTo>
                    <a:pt x="382612" y="111760"/>
                  </a:lnTo>
                  <a:lnTo>
                    <a:pt x="382612" y="10160"/>
                  </a:lnTo>
                  <a:lnTo>
                    <a:pt x="422033" y="10160"/>
                  </a:lnTo>
                  <a:lnTo>
                    <a:pt x="422033" y="0"/>
                  </a:lnTo>
                  <a:close/>
                </a:path>
              </a:pathLst>
            </a:custGeom>
            <a:solidFill>
              <a:srgbClr val="000000"/>
            </a:solidFill>
          </p:spPr>
          <p:txBody>
            <a:bodyPr wrap="square" lIns="0" tIns="0" rIns="0" bIns="0" rtlCol="0"/>
            <a:lstStyle/>
            <a:p>
              <a:endParaRPr sz="2118"/>
            </a:p>
          </p:txBody>
        </p:sp>
        <p:pic>
          <p:nvPicPr>
            <p:cNvPr id="113" name="object 113"/>
            <p:cNvPicPr/>
            <p:nvPr/>
          </p:nvPicPr>
          <p:blipFill>
            <a:blip r:embed="rId59" cstate="print"/>
            <a:stretch>
              <a:fillRect/>
            </a:stretch>
          </p:blipFill>
          <p:spPr>
            <a:xfrm>
              <a:off x="4891362" y="1212142"/>
              <a:ext cx="92160" cy="113146"/>
            </a:xfrm>
            <a:prstGeom prst="rect">
              <a:avLst/>
            </a:prstGeom>
          </p:spPr>
        </p:pic>
        <p:sp>
          <p:nvSpPr>
            <p:cNvPr id="114" name="object 114"/>
            <p:cNvSpPr/>
            <p:nvPr/>
          </p:nvSpPr>
          <p:spPr>
            <a:xfrm>
              <a:off x="3815095" y="1460272"/>
              <a:ext cx="1767839" cy="0"/>
            </a:xfrm>
            <a:custGeom>
              <a:avLst/>
              <a:gdLst/>
              <a:ahLst/>
              <a:cxnLst/>
              <a:rect l="l" t="t" r="r" b="b"/>
              <a:pathLst>
                <a:path w="1767839">
                  <a:moveTo>
                    <a:pt x="0" y="0"/>
                  </a:moveTo>
                  <a:lnTo>
                    <a:pt x="1767515" y="0"/>
                  </a:lnTo>
                </a:path>
              </a:pathLst>
            </a:custGeom>
            <a:ln w="3756">
              <a:solidFill>
                <a:srgbClr val="000000"/>
              </a:solidFill>
            </a:ln>
          </p:spPr>
          <p:txBody>
            <a:bodyPr wrap="square" lIns="0" tIns="0" rIns="0" bIns="0" rtlCol="0"/>
            <a:lstStyle/>
            <a:p>
              <a:endParaRPr sz="2118"/>
            </a:p>
          </p:txBody>
        </p:sp>
        <p:pic>
          <p:nvPicPr>
            <p:cNvPr id="115" name="object 115"/>
            <p:cNvPicPr/>
            <p:nvPr/>
          </p:nvPicPr>
          <p:blipFill>
            <a:blip r:embed="rId60" cstate="print"/>
            <a:stretch>
              <a:fillRect/>
            </a:stretch>
          </p:blipFill>
          <p:spPr>
            <a:xfrm>
              <a:off x="6698998" y="2731900"/>
              <a:ext cx="339090" cy="140058"/>
            </a:xfrm>
            <a:prstGeom prst="rect">
              <a:avLst/>
            </a:prstGeom>
          </p:spPr>
        </p:pic>
        <p:pic>
          <p:nvPicPr>
            <p:cNvPr id="116" name="object 116"/>
            <p:cNvPicPr/>
            <p:nvPr/>
          </p:nvPicPr>
          <p:blipFill>
            <a:blip r:embed="rId61" cstate="print"/>
            <a:stretch>
              <a:fillRect/>
            </a:stretch>
          </p:blipFill>
          <p:spPr>
            <a:xfrm>
              <a:off x="7077554" y="2758775"/>
              <a:ext cx="93963" cy="112194"/>
            </a:xfrm>
            <a:prstGeom prst="rect">
              <a:avLst/>
            </a:prstGeom>
          </p:spPr>
        </p:pic>
        <p:sp>
          <p:nvSpPr>
            <p:cNvPr id="117" name="object 117"/>
            <p:cNvSpPr/>
            <p:nvPr/>
          </p:nvSpPr>
          <p:spPr>
            <a:xfrm>
              <a:off x="7203211" y="2758922"/>
              <a:ext cx="201930" cy="111760"/>
            </a:xfrm>
            <a:custGeom>
              <a:avLst/>
              <a:gdLst/>
              <a:ahLst/>
              <a:cxnLst/>
              <a:rect l="l" t="t" r="r" b="b"/>
              <a:pathLst>
                <a:path w="201929" h="111760">
                  <a:moveTo>
                    <a:pt x="90766" y="0"/>
                  </a:moveTo>
                  <a:lnTo>
                    <a:pt x="0" y="0"/>
                  </a:lnTo>
                  <a:lnTo>
                    <a:pt x="0" y="10160"/>
                  </a:lnTo>
                  <a:lnTo>
                    <a:pt x="39573" y="10160"/>
                  </a:lnTo>
                  <a:lnTo>
                    <a:pt x="39573" y="111760"/>
                  </a:lnTo>
                  <a:lnTo>
                    <a:pt x="51498" y="111760"/>
                  </a:lnTo>
                  <a:lnTo>
                    <a:pt x="51498" y="10160"/>
                  </a:lnTo>
                  <a:lnTo>
                    <a:pt x="90766" y="10160"/>
                  </a:lnTo>
                  <a:lnTo>
                    <a:pt x="90766" y="0"/>
                  </a:lnTo>
                  <a:close/>
                </a:path>
                <a:path w="201929" h="111760">
                  <a:moveTo>
                    <a:pt x="201752" y="101600"/>
                  </a:moveTo>
                  <a:lnTo>
                    <a:pt x="134239" y="101600"/>
                  </a:lnTo>
                  <a:lnTo>
                    <a:pt x="134239" y="59690"/>
                  </a:lnTo>
                  <a:lnTo>
                    <a:pt x="192239" y="59690"/>
                  </a:lnTo>
                  <a:lnTo>
                    <a:pt x="192239" y="50800"/>
                  </a:lnTo>
                  <a:lnTo>
                    <a:pt x="134239" y="50800"/>
                  </a:lnTo>
                  <a:lnTo>
                    <a:pt x="134239" y="10160"/>
                  </a:lnTo>
                  <a:lnTo>
                    <a:pt x="199351" y="10160"/>
                  </a:lnTo>
                  <a:lnTo>
                    <a:pt x="199351" y="0"/>
                  </a:lnTo>
                  <a:lnTo>
                    <a:pt x="122415" y="0"/>
                  </a:lnTo>
                  <a:lnTo>
                    <a:pt x="122415" y="10160"/>
                  </a:lnTo>
                  <a:lnTo>
                    <a:pt x="122415" y="50800"/>
                  </a:lnTo>
                  <a:lnTo>
                    <a:pt x="122415" y="59690"/>
                  </a:lnTo>
                  <a:lnTo>
                    <a:pt x="122415" y="101600"/>
                  </a:lnTo>
                  <a:lnTo>
                    <a:pt x="122415" y="111760"/>
                  </a:lnTo>
                  <a:lnTo>
                    <a:pt x="201752" y="111760"/>
                  </a:lnTo>
                  <a:lnTo>
                    <a:pt x="201752" y="101600"/>
                  </a:lnTo>
                  <a:close/>
                </a:path>
              </a:pathLst>
            </a:custGeom>
            <a:solidFill>
              <a:srgbClr val="000000"/>
            </a:solidFill>
          </p:spPr>
          <p:txBody>
            <a:bodyPr wrap="square" lIns="0" tIns="0" rIns="0" bIns="0" rtlCol="0"/>
            <a:lstStyle/>
            <a:p>
              <a:endParaRPr sz="2118"/>
            </a:p>
          </p:txBody>
        </p:sp>
        <p:pic>
          <p:nvPicPr>
            <p:cNvPr id="118" name="object 118"/>
            <p:cNvPicPr/>
            <p:nvPr/>
          </p:nvPicPr>
          <p:blipFill>
            <a:blip r:embed="rId62" cstate="print"/>
            <a:stretch>
              <a:fillRect/>
            </a:stretch>
          </p:blipFill>
          <p:spPr>
            <a:xfrm>
              <a:off x="7445743" y="2758725"/>
              <a:ext cx="94714" cy="112194"/>
            </a:xfrm>
            <a:prstGeom prst="rect">
              <a:avLst/>
            </a:prstGeom>
          </p:spPr>
        </p:pic>
        <p:sp>
          <p:nvSpPr>
            <p:cNvPr id="119" name="object 119"/>
            <p:cNvSpPr/>
            <p:nvPr/>
          </p:nvSpPr>
          <p:spPr>
            <a:xfrm>
              <a:off x="7572512" y="2758775"/>
              <a:ext cx="12065" cy="112395"/>
            </a:xfrm>
            <a:custGeom>
              <a:avLst/>
              <a:gdLst/>
              <a:ahLst/>
              <a:cxnLst/>
              <a:rect l="l" t="t" r="r" b="b"/>
              <a:pathLst>
                <a:path w="12065" h="112394">
                  <a:moveTo>
                    <a:pt x="11870" y="112194"/>
                  </a:moveTo>
                  <a:lnTo>
                    <a:pt x="0" y="112194"/>
                  </a:lnTo>
                  <a:lnTo>
                    <a:pt x="0" y="0"/>
                  </a:lnTo>
                  <a:lnTo>
                    <a:pt x="11870" y="0"/>
                  </a:lnTo>
                  <a:lnTo>
                    <a:pt x="11870" y="112194"/>
                  </a:lnTo>
                  <a:close/>
                </a:path>
              </a:pathLst>
            </a:custGeom>
            <a:solidFill>
              <a:srgbClr val="000000"/>
            </a:solidFill>
          </p:spPr>
          <p:txBody>
            <a:bodyPr wrap="square" lIns="0" tIns="0" rIns="0" bIns="0" rtlCol="0"/>
            <a:lstStyle/>
            <a:p>
              <a:endParaRPr sz="2118"/>
            </a:p>
          </p:txBody>
        </p:sp>
        <p:pic>
          <p:nvPicPr>
            <p:cNvPr id="120" name="object 120"/>
            <p:cNvPicPr/>
            <p:nvPr/>
          </p:nvPicPr>
          <p:blipFill>
            <a:blip r:embed="rId63" cstate="print"/>
            <a:stretch>
              <a:fillRect/>
            </a:stretch>
          </p:blipFill>
          <p:spPr>
            <a:xfrm>
              <a:off x="7614686" y="2758775"/>
              <a:ext cx="63761" cy="113397"/>
            </a:xfrm>
            <a:prstGeom prst="rect">
              <a:avLst/>
            </a:prstGeom>
          </p:spPr>
        </p:pic>
        <p:pic>
          <p:nvPicPr>
            <p:cNvPr id="121" name="object 121"/>
            <p:cNvPicPr/>
            <p:nvPr/>
          </p:nvPicPr>
          <p:blipFill>
            <a:blip r:embed="rId64" cstate="print"/>
            <a:stretch>
              <a:fillRect/>
            </a:stretch>
          </p:blipFill>
          <p:spPr>
            <a:xfrm>
              <a:off x="7706495" y="2731360"/>
              <a:ext cx="213169" cy="139659"/>
            </a:xfrm>
            <a:prstGeom prst="rect">
              <a:avLst/>
            </a:prstGeom>
          </p:spPr>
        </p:pic>
        <p:sp>
          <p:nvSpPr>
            <p:cNvPr id="122" name="object 122"/>
            <p:cNvSpPr/>
            <p:nvPr/>
          </p:nvSpPr>
          <p:spPr>
            <a:xfrm>
              <a:off x="6697845" y="3026940"/>
              <a:ext cx="1946910" cy="0"/>
            </a:xfrm>
            <a:custGeom>
              <a:avLst/>
              <a:gdLst/>
              <a:ahLst/>
              <a:cxnLst/>
              <a:rect l="l" t="t" r="r" b="b"/>
              <a:pathLst>
                <a:path w="1946909">
                  <a:moveTo>
                    <a:pt x="0" y="0"/>
                  </a:moveTo>
                  <a:lnTo>
                    <a:pt x="1946777" y="0"/>
                  </a:lnTo>
                </a:path>
              </a:pathLst>
            </a:custGeom>
            <a:ln w="3756">
              <a:solidFill>
                <a:srgbClr val="000000"/>
              </a:solidFill>
            </a:ln>
          </p:spPr>
          <p:txBody>
            <a:bodyPr wrap="square" lIns="0" tIns="0" rIns="0" bIns="0" rtlCol="0"/>
            <a:lstStyle/>
            <a:p>
              <a:endParaRPr sz="2118"/>
            </a:p>
          </p:txBody>
        </p:sp>
        <p:pic>
          <p:nvPicPr>
            <p:cNvPr id="123" name="object 123"/>
            <p:cNvPicPr/>
            <p:nvPr/>
          </p:nvPicPr>
          <p:blipFill>
            <a:blip r:embed="rId65" cstate="print"/>
            <a:stretch>
              <a:fillRect/>
            </a:stretch>
          </p:blipFill>
          <p:spPr>
            <a:xfrm>
              <a:off x="6706360" y="1198368"/>
              <a:ext cx="116502" cy="112194"/>
            </a:xfrm>
            <a:prstGeom prst="rect">
              <a:avLst/>
            </a:prstGeom>
          </p:spPr>
        </p:pic>
        <p:pic>
          <p:nvPicPr>
            <p:cNvPr id="124" name="object 124"/>
            <p:cNvPicPr/>
            <p:nvPr/>
          </p:nvPicPr>
          <p:blipFill>
            <a:blip r:embed="rId66" cstate="print"/>
            <a:stretch>
              <a:fillRect/>
            </a:stretch>
          </p:blipFill>
          <p:spPr>
            <a:xfrm>
              <a:off x="6871246" y="1198368"/>
              <a:ext cx="92160" cy="113202"/>
            </a:xfrm>
            <a:prstGeom prst="rect">
              <a:avLst/>
            </a:prstGeom>
          </p:spPr>
        </p:pic>
        <p:pic>
          <p:nvPicPr>
            <p:cNvPr id="125" name="object 125"/>
            <p:cNvPicPr/>
            <p:nvPr/>
          </p:nvPicPr>
          <p:blipFill>
            <a:blip r:embed="rId67" cstate="print"/>
            <a:stretch>
              <a:fillRect/>
            </a:stretch>
          </p:blipFill>
          <p:spPr>
            <a:xfrm>
              <a:off x="7011991" y="1198368"/>
              <a:ext cx="218779" cy="112194"/>
            </a:xfrm>
            <a:prstGeom prst="rect">
              <a:avLst/>
            </a:prstGeom>
          </p:spPr>
        </p:pic>
        <p:pic>
          <p:nvPicPr>
            <p:cNvPr id="126" name="object 126"/>
            <p:cNvPicPr/>
            <p:nvPr/>
          </p:nvPicPr>
          <p:blipFill>
            <a:blip r:embed="rId68" cstate="print"/>
            <a:stretch>
              <a:fillRect/>
            </a:stretch>
          </p:blipFill>
          <p:spPr>
            <a:xfrm>
              <a:off x="7261924" y="1198368"/>
              <a:ext cx="94013" cy="112194"/>
            </a:xfrm>
            <a:prstGeom prst="rect">
              <a:avLst/>
            </a:prstGeom>
          </p:spPr>
        </p:pic>
        <p:pic>
          <p:nvPicPr>
            <p:cNvPr id="127" name="object 127"/>
            <p:cNvPicPr/>
            <p:nvPr/>
          </p:nvPicPr>
          <p:blipFill>
            <a:blip r:embed="rId69" cstate="print"/>
            <a:stretch>
              <a:fillRect/>
            </a:stretch>
          </p:blipFill>
          <p:spPr>
            <a:xfrm>
              <a:off x="7387592" y="1198368"/>
              <a:ext cx="114047" cy="112194"/>
            </a:xfrm>
            <a:prstGeom prst="rect">
              <a:avLst/>
            </a:prstGeom>
          </p:spPr>
        </p:pic>
        <p:sp>
          <p:nvSpPr>
            <p:cNvPr id="128" name="object 128"/>
            <p:cNvSpPr/>
            <p:nvPr/>
          </p:nvSpPr>
          <p:spPr>
            <a:xfrm>
              <a:off x="6687528" y="1461575"/>
              <a:ext cx="1964055" cy="0"/>
            </a:xfrm>
            <a:custGeom>
              <a:avLst/>
              <a:gdLst/>
              <a:ahLst/>
              <a:cxnLst/>
              <a:rect l="l" t="t" r="r" b="b"/>
              <a:pathLst>
                <a:path w="1964054">
                  <a:moveTo>
                    <a:pt x="0" y="0"/>
                  </a:moveTo>
                  <a:lnTo>
                    <a:pt x="1963756" y="0"/>
                  </a:lnTo>
                </a:path>
              </a:pathLst>
            </a:custGeom>
            <a:ln w="3756">
              <a:solidFill>
                <a:srgbClr val="000000"/>
              </a:solidFill>
            </a:ln>
          </p:spPr>
          <p:txBody>
            <a:bodyPr wrap="square" lIns="0" tIns="0" rIns="0" bIns="0" rtlCol="0"/>
            <a:lstStyle/>
            <a:p>
              <a:endParaRPr sz="2118"/>
            </a:p>
          </p:txBody>
        </p:sp>
        <p:sp>
          <p:nvSpPr>
            <p:cNvPr id="129" name="object 129"/>
            <p:cNvSpPr/>
            <p:nvPr/>
          </p:nvSpPr>
          <p:spPr>
            <a:xfrm>
              <a:off x="8420938" y="915250"/>
              <a:ext cx="1042035" cy="4185285"/>
            </a:xfrm>
            <a:custGeom>
              <a:avLst/>
              <a:gdLst/>
              <a:ahLst/>
              <a:cxnLst/>
              <a:rect l="l" t="t" r="r" b="b"/>
              <a:pathLst>
                <a:path w="1042034" h="4185285">
                  <a:moveTo>
                    <a:pt x="484174" y="2717927"/>
                  </a:moveTo>
                  <a:lnTo>
                    <a:pt x="483984" y="2717800"/>
                  </a:lnTo>
                  <a:lnTo>
                    <a:pt x="483831" y="2717800"/>
                  </a:lnTo>
                  <a:lnTo>
                    <a:pt x="484174" y="2717927"/>
                  </a:lnTo>
                  <a:close/>
                </a:path>
                <a:path w="1042034" h="4185285">
                  <a:moveTo>
                    <a:pt x="484174" y="2324227"/>
                  </a:moveTo>
                  <a:lnTo>
                    <a:pt x="483984" y="2324100"/>
                  </a:lnTo>
                  <a:lnTo>
                    <a:pt x="483831" y="2324100"/>
                  </a:lnTo>
                  <a:lnTo>
                    <a:pt x="484174" y="2324227"/>
                  </a:lnTo>
                  <a:close/>
                </a:path>
                <a:path w="1042034" h="4185285">
                  <a:moveTo>
                    <a:pt x="1041793" y="3877754"/>
                  </a:moveTo>
                  <a:lnTo>
                    <a:pt x="1029779" y="3840924"/>
                  </a:lnTo>
                  <a:lnTo>
                    <a:pt x="1029779" y="3839654"/>
                  </a:lnTo>
                  <a:lnTo>
                    <a:pt x="1027176" y="3835844"/>
                  </a:lnTo>
                  <a:lnTo>
                    <a:pt x="1024216" y="3832034"/>
                  </a:lnTo>
                  <a:lnTo>
                    <a:pt x="1021575" y="3829494"/>
                  </a:lnTo>
                  <a:lnTo>
                    <a:pt x="1017587" y="3825684"/>
                  </a:lnTo>
                  <a:lnTo>
                    <a:pt x="1013968" y="3821874"/>
                  </a:lnTo>
                  <a:lnTo>
                    <a:pt x="1006132" y="3816794"/>
                  </a:lnTo>
                  <a:lnTo>
                    <a:pt x="1001991" y="3814254"/>
                  </a:lnTo>
                  <a:lnTo>
                    <a:pt x="993216" y="3810444"/>
                  </a:lnTo>
                  <a:lnTo>
                    <a:pt x="988682" y="3807904"/>
                  </a:lnTo>
                  <a:lnTo>
                    <a:pt x="979309" y="3805364"/>
                  </a:lnTo>
                  <a:lnTo>
                    <a:pt x="974547" y="3805364"/>
                  </a:lnTo>
                  <a:lnTo>
                    <a:pt x="964882" y="3804094"/>
                  </a:lnTo>
                  <a:lnTo>
                    <a:pt x="960069" y="3804094"/>
                  </a:lnTo>
                  <a:lnTo>
                    <a:pt x="950468" y="3805364"/>
                  </a:lnTo>
                  <a:lnTo>
                    <a:pt x="945769" y="3806634"/>
                  </a:lnTo>
                  <a:lnTo>
                    <a:pt x="936561" y="3810444"/>
                  </a:lnTo>
                  <a:lnTo>
                    <a:pt x="932141" y="3811714"/>
                  </a:lnTo>
                  <a:lnTo>
                    <a:pt x="899350" y="3829494"/>
                  </a:lnTo>
                  <a:lnTo>
                    <a:pt x="897445" y="3818064"/>
                  </a:lnTo>
                  <a:lnTo>
                    <a:pt x="895070" y="3806634"/>
                  </a:lnTo>
                  <a:lnTo>
                    <a:pt x="892225" y="3796474"/>
                  </a:lnTo>
                  <a:lnTo>
                    <a:pt x="888923" y="3785044"/>
                  </a:lnTo>
                  <a:lnTo>
                    <a:pt x="885164" y="3773614"/>
                  </a:lnTo>
                  <a:lnTo>
                    <a:pt x="880973" y="3763454"/>
                  </a:lnTo>
                  <a:lnTo>
                    <a:pt x="876338" y="3752024"/>
                  </a:lnTo>
                  <a:lnTo>
                    <a:pt x="871258" y="3741864"/>
                  </a:lnTo>
                  <a:lnTo>
                    <a:pt x="865759" y="3731704"/>
                  </a:lnTo>
                  <a:lnTo>
                    <a:pt x="865339" y="3730993"/>
                  </a:lnTo>
                  <a:lnTo>
                    <a:pt x="865339" y="3848544"/>
                  </a:lnTo>
                  <a:lnTo>
                    <a:pt x="706170" y="3937444"/>
                  </a:lnTo>
                  <a:lnTo>
                    <a:pt x="695477" y="3941254"/>
                  </a:lnTo>
                  <a:lnTo>
                    <a:pt x="684453" y="3945064"/>
                  </a:lnTo>
                  <a:lnTo>
                    <a:pt x="661390" y="3945064"/>
                  </a:lnTo>
                  <a:lnTo>
                    <a:pt x="443865" y="3906964"/>
                  </a:lnTo>
                  <a:lnTo>
                    <a:pt x="440194" y="3906964"/>
                  </a:lnTo>
                  <a:lnTo>
                    <a:pt x="420166" y="3879024"/>
                  </a:lnTo>
                  <a:lnTo>
                    <a:pt x="421373" y="3871404"/>
                  </a:lnTo>
                  <a:lnTo>
                    <a:pt x="445706" y="3851084"/>
                  </a:lnTo>
                  <a:lnTo>
                    <a:pt x="449351" y="3851084"/>
                  </a:lnTo>
                  <a:lnTo>
                    <a:pt x="576186" y="3872674"/>
                  </a:lnTo>
                  <a:lnTo>
                    <a:pt x="598398" y="3872674"/>
                  </a:lnTo>
                  <a:lnTo>
                    <a:pt x="611352" y="3868864"/>
                  </a:lnTo>
                  <a:lnTo>
                    <a:pt x="619531" y="3865054"/>
                  </a:lnTo>
                  <a:lnTo>
                    <a:pt x="623417" y="3863784"/>
                  </a:lnTo>
                  <a:lnTo>
                    <a:pt x="630745" y="3858704"/>
                  </a:lnTo>
                  <a:lnTo>
                    <a:pt x="634123" y="3854894"/>
                  </a:lnTo>
                  <a:lnTo>
                    <a:pt x="637844" y="3851084"/>
                  </a:lnTo>
                  <a:lnTo>
                    <a:pt x="640321" y="3848544"/>
                  </a:lnTo>
                  <a:lnTo>
                    <a:pt x="643077" y="3844734"/>
                  </a:lnTo>
                  <a:lnTo>
                    <a:pt x="647903" y="3838384"/>
                  </a:lnTo>
                  <a:lnTo>
                    <a:pt x="648411" y="3837114"/>
                  </a:lnTo>
                  <a:lnTo>
                    <a:pt x="649935" y="3833304"/>
                  </a:lnTo>
                  <a:lnTo>
                    <a:pt x="653199" y="3825684"/>
                  </a:lnTo>
                  <a:lnTo>
                    <a:pt x="654418" y="3821874"/>
                  </a:lnTo>
                  <a:lnTo>
                    <a:pt x="656018" y="3812984"/>
                  </a:lnTo>
                  <a:lnTo>
                    <a:pt x="656386" y="3807904"/>
                  </a:lnTo>
                  <a:lnTo>
                    <a:pt x="656234" y="3799014"/>
                  </a:lnTo>
                  <a:lnTo>
                    <a:pt x="641756" y="3762184"/>
                  </a:lnTo>
                  <a:lnTo>
                    <a:pt x="617588" y="3743134"/>
                  </a:lnTo>
                  <a:lnTo>
                    <a:pt x="609295" y="3739324"/>
                  </a:lnTo>
                  <a:lnTo>
                    <a:pt x="600633" y="3736784"/>
                  </a:lnTo>
                  <a:lnTo>
                    <a:pt x="523392" y="3721544"/>
                  </a:lnTo>
                  <a:lnTo>
                    <a:pt x="433285" y="3703764"/>
                  </a:lnTo>
                  <a:lnTo>
                    <a:pt x="459333" y="3679634"/>
                  </a:lnTo>
                  <a:lnTo>
                    <a:pt x="466382" y="3673284"/>
                  </a:lnTo>
                  <a:lnTo>
                    <a:pt x="473621" y="3668204"/>
                  </a:lnTo>
                  <a:lnTo>
                    <a:pt x="481050" y="3663124"/>
                  </a:lnTo>
                  <a:lnTo>
                    <a:pt x="488670" y="3658044"/>
                  </a:lnTo>
                  <a:lnTo>
                    <a:pt x="496455" y="3654234"/>
                  </a:lnTo>
                  <a:lnTo>
                    <a:pt x="504380" y="3649154"/>
                  </a:lnTo>
                  <a:lnTo>
                    <a:pt x="520687" y="3641534"/>
                  </a:lnTo>
                  <a:lnTo>
                    <a:pt x="529043" y="3638994"/>
                  </a:lnTo>
                  <a:lnTo>
                    <a:pt x="537502" y="3635184"/>
                  </a:lnTo>
                  <a:lnTo>
                    <a:pt x="554736" y="3630104"/>
                  </a:lnTo>
                  <a:lnTo>
                    <a:pt x="563473" y="3628834"/>
                  </a:lnTo>
                  <a:lnTo>
                    <a:pt x="572287" y="3626294"/>
                  </a:lnTo>
                  <a:lnTo>
                    <a:pt x="599033" y="3622484"/>
                  </a:lnTo>
                  <a:lnTo>
                    <a:pt x="634987" y="3622484"/>
                  </a:lnTo>
                  <a:lnTo>
                    <a:pt x="705027" y="3637724"/>
                  </a:lnTo>
                  <a:lnTo>
                    <a:pt x="745464" y="3658044"/>
                  </a:lnTo>
                  <a:lnTo>
                    <a:pt x="781735" y="3684714"/>
                  </a:lnTo>
                  <a:lnTo>
                    <a:pt x="788390" y="3689794"/>
                  </a:lnTo>
                  <a:lnTo>
                    <a:pt x="794816" y="3696144"/>
                  </a:lnTo>
                  <a:lnTo>
                    <a:pt x="801001" y="3703764"/>
                  </a:lnTo>
                  <a:lnTo>
                    <a:pt x="806958" y="3710114"/>
                  </a:lnTo>
                  <a:lnTo>
                    <a:pt x="832878" y="3746944"/>
                  </a:lnTo>
                  <a:lnTo>
                    <a:pt x="845096" y="3771074"/>
                  </a:lnTo>
                  <a:lnTo>
                    <a:pt x="848588" y="3778694"/>
                  </a:lnTo>
                  <a:lnTo>
                    <a:pt x="851776" y="3787584"/>
                  </a:lnTo>
                  <a:lnTo>
                    <a:pt x="854659" y="3796474"/>
                  </a:lnTo>
                  <a:lnTo>
                    <a:pt x="857224" y="3804094"/>
                  </a:lnTo>
                  <a:lnTo>
                    <a:pt x="865339" y="3848544"/>
                  </a:lnTo>
                  <a:lnTo>
                    <a:pt x="865339" y="3730993"/>
                  </a:lnTo>
                  <a:lnTo>
                    <a:pt x="839724" y="3693604"/>
                  </a:lnTo>
                  <a:lnTo>
                    <a:pt x="807758" y="3659314"/>
                  </a:lnTo>
                  <a:lnTo>
                    <a:pt x="770724" y="3631374"/>
                  </a:lnTo>
                  <a:lnTo>
                    <a:pt x="755713" y="3622484"/>
                  </a:lnTo>
                  <a:lnTo>
                    <a:pt x="750633" y="3619944"/>
                  </a:lnTo>
                  <a:lnTo>
                    <a:pt x="740219" y="3614864"/>
                  </a:lnTo>
                  <a:lnTo>
                    <a:pt x="718832" y="3604704"/>
                  </a:lnTo>
                  <a:lnTo>
                    <a:pt x="707885" y="3600894"/>
                  </a:lnTo>
                  <a:lnTo>
                    <a:pt x="696772" y="3598354"/>
                  </a:lnTo>
                  <a:lnTo>
                    <a:pt x="685520" y="3594544"/>
                  </a:lnTo>
                  <a:lnTo>
                    <a:pt x="674179" y="3592004"/>
                  </a:lnTo>
                  <a:lnTo>
                    <a:pt x="651217" y="3589464"/>
                  </a:lnTo>
                  <a:lnTo>
                    <a:pt x="649871" y="3589464"/>
                  </a:lnTo>
                  <a:lnTo>
                    <a:pt x="649871" y="3327400"/>
                  </a:lnTo>
                  <a:lnTo>
                    <a:pt x="741070" y="3327400"/>
                  </a:lnTo>
                  <a:lnTo>
                    <a:pt x="780643" y="3314700"/>
                  </a:lnTo>
                  <a:lnTo>
                    <a:pt x="816279" y="3302000"/>
                  </a:lnTo>
                  <a:lnTo>
                    <a:pt x="832167" y="3289300"/>
                  </a:lnTo>
                  <a:lnTo>
                    <a:pt x="848055" y="3276600"/>
                  </a:lnTo>
                  <a:lnTo>
                    <a:pt x="885507" y="3238500"/>
                  </a:lnTo>
                  <a:lnTo>
                    <a:pt x="906907" y="3200400"/>
                  </a:lnTo>
                  <a:lnTo>
                    <a:pt x="914958" y="3162300"/>
                  </a:lnTo>
                  <a:lnTo>
                    <a:pt x="916990" y="3149600"/>
                  </a:lnTo>
                  <a:lnTo>
                    <a:pt x="917676" y="3136900"/>
                  </a:lnTo>
                  <a:lnTo>
                    <a:pt x="916520" y="3124200"/>
                  </a:lnTo>
                  <a:lnTo>
                    <a:pt x="912901" y="3124200"/>
                  </a:lnTo>
                  <a:lnTo>
                    <a:pt x="906678" y="3111500"/>
                  </a:lnTo>
                  <a:lnTo>
                    <a:pt x="882065" y="3111500"/>
                  </a:lnTo>
                  <a:lnTo>
                    <a:pt x="882065" y="3149600"/>
                  </a:lnTo>
                  <a:lnTo>
                    <a:pt x="869746" y="3200400"/>
                  </a:lnTo>
                  <a:lnTo>
                    <a:pt x="848106" y="3238500"/>
                  </a:lnTo>
                  <a:lnTo>
                    <a:pt x="817156" y="3263900"/>
                  </a:lnTo>
                  <a:lnTo>
                    <a:pt x="776884" y="3276600"/>
                  </a:lnTo>
                  <a:lnTo>
                    <a:pt x="751865" y="3289300"/>
                  </a:lnTo>
                  <a:lnTo>
                    <a:pt x="672757" y="3289300"/>
                  </a:lnTo>
                  <a:lnTo>
                    <a:pt x="711530" y="3263900"/>
                  </a:lnTo>
                  <a:lnTo>
                    <a:pt x="789063" y="3213100"/>
                  </a:lnTo>
                  <a:lnTo>
                    <a:pt x="754278" y="3225800"/>
                  </a:lnTo>
                  <a:lnTo>
                    <a:pt x="721042" y="3238500"/>
                  </a:lnTo>
                  <a:lnTo>
                    <a:pt x="658329" y="3263188"/>
                  </a:lnTo>
                  <a:lnTo>
                    <a:pt x="679526" y="3213100"/>
                  </a:lnTo>
                  <a:lnTo>
                    <a:pt x="713333" y="3187700"/>
                  </a:lnTo>
                  <a:lnTo>
                    <a:pt x="755650" y="3162300"/>
                  </a:lnTo>
                  <a:lnTo>
                    <a:pt x="802728" y="3149600"/>
                  </a:lnTo>
                  <a:lnTo>
                    <a:pt x="882065" y="3149600"/>
                  </a:lnTo>
                  <a:lnTo>
                    <a:pt x="882065" y="3111500"/>
                  </a:lnTo>
                  <a:lnTo>
                    <a:pt x="788365" y="3111500"/>
                  </a:lnTo>
                  <a:lnTo>
                    <a:pt x="777392" y="3124200"/>
                  </a:lnTo>
                  <a:lnTo>
                    <a:pt x="745197" y="3124200"/>
                  </a:lnTo>
                  <a:lnTo>
                    <a:pt x="734872" y="3136900"/>
                  </a:lnTo>
                  <a:lnTo>
                    <a:pt x="714933" y="3136900"/>
                  </a:lnTo>
                  <a:lnTo>
                    <a:pt x="705446" y="3149600"/>
                  </a:lnTo>
                  <a:lnTo>
                    <a:pt x="696315" y="3149600"/>
                  </a:lnTo>
                  <a:lnTo>
                    <a:pt x="687527" y="3162300"/>
                  </a:lnTo>
                  <a:lnTo>
                    <a:pt x="679145" y="3162300"/>
                  </a:lnTo>
                  <a:lnTo>
                    <a:pt x="671220" y="3175000"/>
                  </a:lnTo>
                  <a:lnTo>
                    <a:pt x="663765" y="3187700"/>
                  </a:lnTo>
                  <a:lnTo>
                    <a:pt x="656780" y="3187700"/>
                  </a:lnTo>
                  <a:lnTo>
                    <a:pt x="656780" y="3175000"/>
                  </a:lnTo>
                  <a:lnTo>
                    <a:pt x="656780" y="3136900"/>
                  </a:lnTo>
                  <a:lnTo>
                    <a:pt x="656780" y="3073400"/>
                  </a:lnTo>
                  <a:lnTo>
                    <a:pt x="656780" y="2933700"/>
                  </a:lnTo>
                  <a:lnTo>
                    <a:pt x="657580" y="2933700"/>
                  </a:lnTo>
                  <a:lnTo>
                    <a:pt x="657580" y="2794000"/>
                  </a:lnTo>
                  <a:lnTo>
                    <a:pt x="657580" y="2768600"/>
                  </a:lnTo>
                  <a:lnTo>
                    <a:pt x="657580" y="2717800"/>
                  </a:lnTo>
                  <a:lnTo>
                    <a:pt x="708698" y="2717800"/>
                  </a:lnTo>
                  <a:lnTo>
                    <a:pt x="760869" y="2705100"/>
                  </a:lnTo>
                  <a:lnTo>
                    <a:pt x="798728" y="2705100"/>
                  </a:lnTo>
                  <a:lnTo>
                    <a:pt x="847598" y="2692400"/>
                  </a:lnTo>
                  <a:lnTo>
                    <a:pt x="870000" y="2679700"/>
                  </a:lnTo>
                  <a:lnTo>
                    <a:pt x="892403" y="2667000"/>
                  </a:lnTo>
                  <a:lnTo>
                    <a:pt x="931659" y="2641600"/>
                  </a:lnTo>
                  <a:lnTo>
                    <a:pt x="963879" y="2603500"/>
                  </a:lnTo>
                  <a:lnTo>
                    <a:pt x="987564" y="2552700"/>
                  </a:lnTo>
                  <a:lnTo>
                    <a:pt x="1001229" y="2501900"/>
                  </a:lnTo>
                  <a:lnTo>
                    <a:pt x="1002512" y="2501900"/>
                  </a:lnTo>
                  <a:lnTo>
                    <a:pt x="1006233" y="2476500"/>
                  </a:lnTo>
                  <a:lnTo>
                    <a:pt x="1006233" y="2451100"/>
                  </a:lnTo>
                  <a:lnTo>
                    <a:pt x="996010" y="2451100"/>
                  </a:lnTo>
                  <a:lnTo>
                    <a:pt x="989088" y="2438400"/>
                  </a:lnTo>
                  <a:lnTo>
                    <a:pt x="970876" y="2438400"/>
                  </a:lnTo>
                  <a:lnTo>
                    <a:pt x="970876" y="2476500"/>
                  </a:lnTo>
                  <a:lnTo>
                    <a:pt x="970026" y="2489200"/>
                  </a:lnTo>
                  <a:lnTo>
                    <a:pt x="959751" y="2527300"/>
                  </a:lnTo>
                  <a:lnTo>
                    <a:pt x="940549" y="2578100"/>
                  </a:lnTo>
                  <a:lnTo>
                    <a:pt x="913307" y="2616200"/>
                  </a:lnTo>
                  <a:lnTo>
                    <a:pt x="878878" y="2641600"/>
                  </a:lnTo>
                  <a:lnTo>
                    <a:pt x="838136" y="2667000"/>
                  </a:lnTo>
                  <a:lnTo>
                    <a:pt x="791908" y="2679700"/>
                  </a:lnTo>
                  <a:lnTo>
                    <a:pt x="689584" y="2679700"/>
                  </a:lnTo>
                  <a:lnTo>
                    <a:pt x="731266" y="2641600"/>
                  </a:lnTo>
                  <a:lnTo>
                    <a:pt x="775449" y="2603500"/>
                  </a:lnTo>
                  <a:lnTo>
                    <a:pt x="867244" y="2552700"/>
                  </a:lnTo>
                  <a:lnTo>
                    <a:pt x="839190" y="2552700"/>
                  </a:lnTo>
                  <a:lnTo>
                    <a:pt x="812228" y="2565400"/>
                  </a:lnTo>
                  <a:lnTo>
                    <a:pt x="786218" y="2578100"/>
                  </a:lnTo>
                  <a:lnTo>
                    <a:pt x="761009" y="2590800"/>
                  </a:lnTo>
                  <a:lnTo>
                    <a:pt x="663092" y="2641600"/>
                  </a:lnTo>
                  <a:lnTo>
                    <a:pt x="666343" y="2628900"/>
                  </a:lnTo>
                  <a:lnTo>
                    <a:pt x="670648" y="2616200"/>
                  </a:lnTo>
                  <a:lnTo>
                    <a:pt x="676008" y="2603500"/>
                  </a:lnTo>
                  <a:lnTo>
                    <a:pt x="682421" y="2590800"/>
                  </a:lnTo>
                  <a:lnTo>
                    <a:pt x="682574" y="2590800"/>
                  </a:lnTo>
                  <a:lnTo>
                    <a:pt x="701332" y="2565400"/>
                  </a:lnTo>
                  <a:lnTo>
                    <a:pt x="710704" y="2552700"/>
                  </a:lnTo>
                  <a:lnTo>
                    <a:pt x="745261" y="2514600"/>
                  </a:lnTo>
                  <a:lnTo>
                    <a:pt x="786231" y="2501900"/>
                  </a:lnTo>
                  <a:lnTo>
                    <a:pt x="833640" y="2476500"/>
                  </a:lnTo>
                  <a:lnTo>
                    <a:pt x="970876" y="2476500"/>
                  </a:lnTo>
                  <a:lnTo>
                    <a:pt x="970876" y="2438400"/>
                  </a:lnTo>
                  <a:lnTo>
                    <a:pt x="860386" y="2438400"/>
                  </a:lnTo>
                  <a:lnTo>
                    <a:pt x="843483" y="2451100"/>
                  </a:lnTo>
                  <a:lnTo>
                    <a:pt x="798182" y="2451100"/>
                  </a:lnTo>
                  <a:lnTo>
                    <a:pt x="786523" y="2463800"/>
                  </a:lnTo>
                  <a:lnTo>
                    <a:pt x="763841" y="2463800"/>
                  </a:lnTo>
                  <a:lnTo>
                    <a:pt x="752868" y="2476500"/>
                  </a:lnTo>
                  <a:lnTo>
                    <a:pt x="742226" y="2476500"/>
                  </a:lnTo>
                  <a:lnTo>
                    <a:pt x="731888" y="2489200"/>
                  </a:lnTo>
                  <a:lnTo>
                    <a:pt x="721868" y="2489200"/>
                  </a:lnTo>
                  <a:lnTo>
                    <a:pt x="712228" y="2501900"/>
                  </a:lnTo>
                  <a:lnTo>
                    <a:pt x="702995" y="2514600"/>
                  </a:lnTo>
                  <a:lnTo>
                    <a:pt x="694169" y="2514600"/>
                  </a:lnTo>
                  <a:lnTo>
                    <a:pt x="685761" y="2527300"/>
                  </a:lnTo>
                  <a:lnTo>
                    <a:pt x="677811" y="2540000"/>
                  </a:lnTo>
                  <a:lnTo>
                    <a:pt x="670356" y="2552700"/>
                  </a:lnTo>
                  <a:lnTo>
                    <a:pt x="663397" y="2552700"/>
                  </a:lnTo>
                  <a:lnTo>
                    <a:pt x="656932" y="2565400"/>
                  </a:lnTo>
                  <a:lnTo>
                    <a:pt x="656932" y="2400300"/>
                  </a:lnTo>
                  <a:lnTo>
                    <a:pt x="656932" y="2374900"/>
                  </a:lnTo>
                  <a:lnTo>
                    <a:pt x="656932" y="2324100"/>
                  </a:lnTo>
                  <a:lnTo>
                    <a:pt x="760018" y="2324100"/>
                  </a:lnTo>
                  <a:lnTo>
                    <a:pt x="779030" y="2311400"/>
                  </a:lnTo>
                  <a:lnTo>
                    <a:pt x="797877" y="2311400"/>
                  </a:lnTo>
                  <a:lnTo>
                    <a:pt x="846747" y="2298700"/>
                  </a:lnTo>
                  <a:lnTo>
                    <a:pt x="869149" y="2286000"/>
                  </a:lnTo>
                  <a:lnTo>
                    <a:pt x="891552" y="2273300"/>
                  </a:lnTo>
                  <a:lnTo>
                    <a:pt x="930808" y="2247900"/>
                  </a:lnTo>
                  <a:lnTo>
                    <a:pt x="963028" y="2209800"/>
                  </a:lnTo>
                  <a:lnTo>
                    <a:pt x="986713" y="2159000"/>
                  </a:lnTo>
                  <a:lnTo>
                    <a:pt x="1000379" y="2108200"/>
                  </a:lnTo>
                  <a:lnTo>
                    <a:pt x="1001661" y="2108200"/>
                  </a:lnTo>
                  <a:lnTo>
                    <a:pt x="1005382" y="2082800"/>
                  </a:lnTo>
                  <a:lnTo>
                    <a:pt x="1005382" y="2070100"/>
                  </a:lnTo>
                  <a:lnTo>
                    <a:pt x="1000925" y="2057400"/>
                  </a:lnTo>
                  <a:lnTo>
                    <a:pt x="988237" y="2057400"/>
                  </a:lnTo>
                  <a:lnTo>
                    <a:pt x="980338" y="2044700"/>
                  </a:lnTo>
                  <a:lnTo>
                    <a:pt x="970724" y="2049411"/>
                  </a:lnTo>
                  <a:lnTo>
                    <a:pt x="970724" y="2082800"/>
                  </a:lnTo>
                  <a:lnTo>
                    <a:pt x="969873" y="2095500"/>
                  </a:lnTo>
                  <a:lnTo>
                    <a:pt x="959599" y="2133600"/>
                  </a:lnTo>
                  <a:lnTo>
                    <a:pt x="940409" y="2184400"/>
                  </a:lnTo>
                  <a:lnTo>
                    <a:pt x="913168" y="2222500"/>
                  </a:lnTo>
                  <a:lnTo>
                    <a:pt x="878738" y="2247900"/>
                  </a:lnTo>
                  <a:lnTo>
                    <a:pt x="837984" y="2273300"/>
                  </a:lnTo>
                  <a:lnTo>
                    <a:pt x="791768" y="2286000"/>
                  </a:lnTo>
                  <a:lnTo>
                    <a:pt x="689432" y="2286000"/>
                  </a:lnTo>
                  <a:lnTo>
                    <a:pt x="731113" y="2247900"/>
                  </a:lnTo>
                  <a:lnTo>
                    <a:pt x="775296" y="2209800"/>
                  </a:lnTo>
                  <a:lnTo>
                    <a:pt x="867092" y="2159000"/>
                  </a:lnTo>
                  <a:lnTo>
                    <a:pt x="839038" y="2159000"/>
                  </a:lnTo>
                  <a:lnTo>
                    <a:pt x="812076" y="2171700"/>
                  </a:lnTo>
                  <a:lnTo>
                    <a:pt x="786079" y="2184400"/>
                  </a:lnTo>
                  <a:lnTo>
                    <a:pt x="760857" y="2197100"/>
                  </a:lnTo>
                  <a:lnTo>
                    <a:pt x="662940" y="2247900"/>
                  </a:lnTo>
                  <a:lnTo>
                    <a:pt x="666229" y="2235200"/>
                  </a:lnTo>
                  <a:lnTo>
                    <a:pt x="670572" y="2222500"/>
                  </a:lnTo>
                  <a:lnTo>
                    <a:pt x="675970" y="2209800"/>
                  </a:lnTo>
                  <a:lnTo>
                    <a:pt x="682421" y="2197100"/>
                  </a:lnTo>
                  <a:lnTo>
                    <a:pt x="691807" y="2184400"/>
                  </a:lnTo>
                  <a:lnTo>
                    <a:pt x="710552" y="2159000"/>
                  </a:lnTo>
                  <a:lnTo>
                    <a:pt x="745109" y="2120900"/>
                  </a:lnTo>
                  <a:lnTo>
                    <a:pt x="786079" y="2108200"/>
                  </a:lnTo>
                  <a:lnTo>
                    <a:pt x="833488" y="2082800"/>
                  </a:lnTo>
                  <a:lnTo>
                    <a:pt x="970724" y="2082800"/>
                  </a:lnTo>
                  <a:lnTo>
                    <a:pt x="970724" y="2049411"/>
                  </a:lnTo>
                  <a:lnTo>
                    <a:pt x="954379" y="2057400"/>
                  </a:lnTo>
                  <a:lnTo>
                    <a:pt x="902487" y="2057400"/>
                  </a:lnTo>
                  <a:lnTo>
                    <a:pt x="876566" y="2044700"/>
                  </a:lnTo>
                  <a:lnTo>
                    <a:pt x="859536" y="2057400"/>
                  </a:lnTo>
                  <a:lnTo>
                    <a:pt x="796683" y="2057400"/>
                  </a:lnTo>
                  <a:lnTo>
                    <a:pt x="784415" y="2070100"/>
                  </a:lnTo>
                  <a:lnTo>
                    <a:pt x="772388" y="2070100"/>
                  </a:lnTo>
                  <a:lnTo>
                    <a:pt x="760603" y="2082800"/>
                  </a:lnTo>
                  <a:lnTo>
                    <a:pt x="749109" y="2082800"/>
                  </a:lnTo>
                  <a:lnTo>
                    <a:pt x="737997" y="2095500"/>
                  </a:lnTo>
                  <a:lnTo>
                    <a:pt x="727240" y="2095500"/>
                  </a:lnTo>
                  <a:lnTo>
                    <a:pt x="716851" y="2108200"/>
                  </a:lnTo>
                  <a:lnTo>
                    <a:pt x="706894" y="2108200"/>
                  </a:lnTo>
                  <a:lnTo>
                    <a:pt x="697407" y="2120900"/>
                  </a:lnTo>
                  <a:lnTo>
                    <a:pt x="688390" y="2133600"/>
                  </a:lnTo>
                  <a:lnTo>
                    <a:pt x="679856" y="2146300"/>
                  </a:lnTo>
                  <a:lnTo>
                    <a:pt x="671855" y="2146300"/>
                  </a:lnTo>
                  <a:lnTo>
                    <a:pt x="664400" y="2159000"/>
                  </a:lnTo>
                  <a:lnTo>
                    <a:pt x="657529" y="2171700"/>
                  </a:lnTo>
                  <a:lnTo>
                    <a:pt x="651217" y="2184400"/>
                  </a:lnTo>
                  <a:lnTo>
                    <a:pt x="651217" y="2057400"/>
                  </a:lnTo>
                  <a:lnTo>
                    <a:pt x="651573" y="2057400"/>
                  </a:lnTo>
                  <a:lnTo>
                    <a:pt x="651573" y="1968500"/>
                  </a:lnTo>
                  <a:lnTo>
                    <a:pt x="742124" y="1968500"/>
                  </a:lnTo>
                  <a:lnTo>
                    <a:pt x="781697" y="1955800"/>
                  </a:lnTo>
                  <a:lnTo>
                    <a:pt x="833208" y="1930400"/>
                  </a:lnTo>
                  <a:lnTo>
                    <a:pt x="877011" y="1892300"/>
                  </a:lnTo>
                  <a:lnTo>
                    <a:pt x="901979" y="1854200"/>
                  </a:lnTo>
                  <a:lnTo>
                    <a:pt x="915987" y="1803400"/>
                  </a:lnTo>
                  <a:lnTo>
                    <a:pt x="918006" y="1790700"/>
                  </a:lnTo>
                  <a:lnTo>
                    <a:pt x="918679" y="1778000"/>
                  </a:lnTo>
                  <a:lnTo>
                    <a:pt x="917524" y="1765300"/>
                  </a:lnTo>
                  <a:lnTo>
                    <a:pt x="913930" y="1765300"/>
                  </a:lnTo>
                  <a:lnTo>
                    <a:pt x="907694" y="1752600"/>
                  </a:lnTo>
                  <a:lnTo>
                    <a:pt x="883627" y="1752600"/>
                  </a:lnTo>
                  <a:lnTo>
                    <a:pt x="883627" y="1790700"/>
                  </a:lnTo>
                  <a:lnTo>
                    <a:pt x="871296" y="1841500"/>
                  </a:lnTo>
                  <a:lnTo>
                    <a:pt x="849668" y="1879600"/>
                  </a:lnTo>
                  <a:lnTo>
                    <a:pt x="818705" y="1905000"/>
                  </a:lnTo>
                  <a:lnTo>
                    <a:pt x="778446" y="1930400"/>
                  </a:lnTo>
                  <a:lnTo>
                    <a:pt x="674357" y="1930400"/>
                  </a:lnTo>
                  <a:lnTo>
                    <a:pt x="713105" y="1905000"/>
                  </a:lnTo>
                  <a:lnTo>
                    <a:pt x="790613" y="1854200"/>
                  </a:lnTo>
                  <a:lnTo>
                    <a:pt x="755840" y="1866900"/>
                  </a:lnTo>
                  <a:lnTo>
                    <a:pt x="722630" y="1879600"/>
                  </a:lnTo>
                  <a:lnTo>
                    <a:pt x="659879" y="1904314"/>
                  </a:lnTo>
                  <a:lnTo>
                    <a:pt x="681075" y="1854200"/>
                  </a:lnTo>
                  <a:lnTo>
                    <a:pt x="697979" y="1841500"/>
                  </a:lnTo>
                  <a:lnTo>
                    <a:pt x="714883" y="1828800"/>
                  </a:lnTo>
                  <a:lnTo>
                    <a:pt x="757212" y="1803400"/>
                  </a:lnTo>
                  <a:lnTo>
                    <a:pt x="804291" y="1790700"/>
                  </a:lnTo>
                  <a:lnTo>
                    <a:pt x="883627" y="1790700"/>
                  </a:lnTo>
                  <a:lnTo>
                    <a:pt x="883627" y="1752600"/>
                  </a:lnTo>
                  <a:lnTo>
                    <a:pt x="811542" y="1752600"/>
                  </a:lnTo>
                  <a:lnTo>
                    <a:pt x="766229" y="1765300"/>
                  </a:lnTo>
                  <a:lnTo>
                    <a:pt x="725411" y="1778000"/>
                  </a:lnTo>
                  <a:lnTo>
                    <a:pt x="689114" y="1803400"/>
                  </a:lnTo>
                  <a:lnTo>
                    <a:pt x="657326" y="1828800"/>
                  </a:lnTo>
                  <a:lnTo>
                    <a:pt x="655866" y="1841500"/>
                  </a:lnTo>
                  <a:lnTo>
                    <a:pt x="651725" y="1841500"/>
                  </a:lnTo>
                  <a:lnTo>
                    <a:pt x="651814" y="1816100"/>
                  </a:lnTo>
                  <a:lnTo>
                    <a:pt x="651967" y="1778000"/>
                  </a:lnTo>
                  <a:lnTo>
                    <a:pt x="652272" y="1701800"/>
                  </a:lnTo>
                  <a:lnTo>
                    <a:pt x="652487" y="1638300"/>
                  </a:lnTo>
                  <a:lnTo>
                    <a:pt x="652602" y="1587500"/>
                  </a:lnTo>
                  <a:lnTo>
                    <a:pt x="652716" y="1473200"/>
                  </a:lnTo>
                  <a:lnTo>
                    <a:pt x="773798" y="1473200"/>
                  </a:lnTo>
                  <a:lnTo>
                    <a:pt x="792619" y="1460500"/>
                  </a:lnTo>
                  <a:lnTo>
                    <a:pt x="841489" y="1447800"/>
                  </a:lnTo>
                  <a:lnTo>
                    <a:pt x="886294" y="1435100"/>
                  </a:lnTo>
                  <a:lnTo>
                    <a:pt x="925563" y="1397000"/>
                  </a:lnTo>
                  <a:lnTo>
                    <a:pt x="957783" y="1358900"/>
                  </a:lnTo>
                  <a:lnTo>
                    <a:pt x="981481" y="1308100"/>
                  </a:lnTo>
                  <a:lnTo>
                    <a:pt x="995172" y="1270000"/>
                  </a:lnTo>
                  <a:lnTo>
                    <a:pt x="996454" y="1257300"/>
                  </a:lnTo>
                  <a:lnTo>
                    <a:pt x="1000175" y="1231900"/>
                  </a:lnTo>
                  <a:lnTo>
                    <a:pt x="1000175" y="1219200"/>
                  </a:lnTo>
                  <a:lnTo>
                    <a:pt x="995718" y="1206500"/>
                  </a:lnTo>
                  <a:lnTo>
                    <a:pt x="965365" y="1206500"/>
                  </a:lnTo>
                  <a:lnTo>
                    <a:pt x="965365" y="1231900"/>
                  </a:lnTo>
                  <a:lnTo>
                    <a:pt x="964565" y="1244600"/>
                  </a:lnTo>
                  <a:lnTo>
                    <a:pt x="954265" y="1295400"/>
                  </a:lnTo>
                  <a:lnTo>
                    <a:pt x="935075" y="1333500"/>
                  </a:lnTo>
                  <a:lnTo>
                    <a:pt x="907834" y="1371600"/>
                  </a:lnTo>
                  <a:lnTo>
                    <a:pt x="873417" y="1397000"/>
                  </a:lnTo>
                  <a:lnTo>
                    <a:pt x="832662" y="1422400"/>
                  </a:lnTo>
                  <a:lnTo>
                    <a:pt x="786460" y="1435100"/>
                  </a:lnTo>
                  <a:lnTo>
                    <a:pt x="684123" y="1435100"/>
                  </a:lnTo>
                  <a:lnTo>
                    <a:pt x="725792" y="1397000"/>
                  </a:lnTo>
                  <a:lnTo>
                    <a:pt x="769975" y="1371600"/>
                  </a:lnTo>
                  <a:lnTo>
                    <a:pt x="815632" y="1333500"/>
                  </a:lnTo>
                  <a:lnTo>
                    <a:pt x="861783" y="1308100"/>
                  </a:lnTo>
                  <a:lnTo>
                    <a:pt x="833729" y="1308100"/>
                  </a:lnTo>
                  <a:lnTo>
                    <a:pt x="806767" y="1320800"/>
                  </a:lnTo>
                  <a:lnTo>
                    <a:pt x="780757" y="1333500"/>
                  </a:lnTo>
                  <a:lnTo>
                    <a:pt x="755548" y="1346200"/>
                  </a:lnTo>
                  <a:lnTo>
                    <a:pt x="658431" y="1397000"/>
                  </a:lnTo>
                  <a:lnTo>
                    <a:pt x="661746" y="1384300"/>
                  </a:lnTo>
                  <a:lnTo>
                    <a:pt x="677113" y="1346200"/>
                  </a:lnTo>
                  <a:lnTo>
                    <a:pt x="705243" y="1308100"/>
                  </a:lnTo>
                  <a:lnTo>
                    <a:pt x="739800" y="1282700"/>
                  </a:lnTo>
                  <a:lnTo>
                    <a:pt x="780770" y="1257300"/>
                  </a:lnTo>
                  <a:lnTo>
                    <a:pt x="828179" y="1244600"/>
                  </a:lnTo>
                  <a:lnTo>
                    <a:pt x="837145" y="1231900"/>
                  </a:lnTo>
                  <a:lnTo>
                    <a:pt x="965365" y="1231900"/>
                  </a:lnTo>
                  <a:lnTo>
                    <a:pt x="965365" y="1206500"/>
                  </a:lnTo>
                  <a:lnTo>
                    <a:pt x="804037" y="1206500"/>
                  </a:lnTo>
                  <a:lnTo>
                    <a:pt x="782091" y="1219200"/>
                  </a:lnTo>
                  <a:lnTo>
                    <a:pt x="761060" y="1219200"/>
                  </a:lnTo>
                  <a:lnTo>
                    <a:pt x="740918" y="1231900"/>
                  </a:lnTo>
                  <a:lnTo>
                    <a:pt x="721677" y="1244600"/>
                  </a:lnTo>
                  <a:lnTo>
                    <a:pt x="703668" y="1257300"/>
                  </a:lnTo>
                  <a:lnTo>
                    <a:pt x="687171" y="1282700"/>
                  </a:lnTo>
                  <a:lnTo>
                    <a:pt x="672211" y="1295400"/>
                  </a:lnTo>
                  <a:lnTo>
                    <a:pt x="658787" y="1308100"/>
                  </a:lnTo>
                  <a:lnTo>
                    <a:pt x="658787" y="1295400"/>
                  </a:lnTo>
                  <a:lnTo>
                    <a:pt x="658787" y="1270000"/>
                  </a:lnTo>
                  <a:lnTo>
                    <a:pt x="658787" y="1206500"/>
                  </a:lnTo>
                  <a:lnTo>
                    <a:pt x="658787" y="1092200"/>
                  </a:lnTo>
                  <a:lnTo>
                    <a:pt x="660692" y="1092200"/>
                  </a:lnTo>
                  <a:lnTo>
                    <a:pt x="660692" y="914400"/>
                  </a:lnTo>
                  <a:lnTo>
                    <a:pt x="660692" y="889000"/>
                  </a:lnTo>
                  <a:lnTo>
                    <a:pt x="660692" y="825500"/>
                  </a:lnTo>
                  <a:lnTo>
                    <a:pt x="660692" y="635000"/>
                  </a:lnTo>
                  <a:lnTo>
                    <a:pt x="662533" y="622300"/>
                  </a:lnTo>
                  <a:lnTo>
                    <a:pt x="791464" y="622300"/>
                  </a:lnTo>
                  <a:lnTo>
                    <a:pt x="827100" y="609600"/>
                  </a:lnTo>
                  <a:lnTo>
                    <a:pt x="842975" y="596900"/>
                  </a:lnTo>
                  <a:lnTo>
                    <a:pt x="858850" y="584200"/>
                  </a:lnTo>
                  <a:lnTo>
                    <a:pt x="896289" y="546100"/>
                  </a:lnTo>
                  <a:lnTo>
                    <a:pt x="917702" y="495300"/>
                  </a:lnTo>
                  <a:lnTo>
                    <a:pt x="922401" y="482600"/>
                  </a:lnTo>
                  <a:lnTo>
                    <a:pt x="925753" y="469900"/>
                  </a:lnTo>
                  <a:lnTo>
                    <a:pt x="927773" y="457200"/>
                  </a:lnTo>
                  <a:lnTo>
                    <a:pt x="928446" y="444500"/>
                  </a:lnTo>
                  <a:lnTo>
                    <a:pt x="927290" y="431800"/>
                  </a:lnTo>
                  <a:lnTo>
                    <a:pt x="923696" y="419100"/>
                  </a:lnTo>
                  <a:lnTo>
                    <a:pt x="892886" y="419100"/>
                  </a:lnTo>
                  <a:lnTo>
                    <a:pt x="892886" y="457200"/>
                  </a:lnTo>
                  <a:lnTo>
                    <a:pt x="880567" y="495300"/>
                  </a:lnTo>
                  <a:lnTo>
                    <a:pt x="858926" y="533400"/>
                  </a:lnTo>
                  <a:lnTo>
                    <a:pt x="827976" y="558800"/>
                  </a:lnTo>
                  <a:lnTo>
                    <a:pt x="787704" y="584200"/>
                  </a:lnTo>
                  <a:lnTo>
                    <a:pt x="762685" y="596900"/>
                  </a:lnTo>
                  <a:lnTo>
                    <a:pt x="683628" y="596900"/>
                  </a:lnTo>
                  <a:lnTo>
                    <a:pt x="722376" y="571500"/>
                  </a:lnTo>
                  <a:lnTo>
                    <a:pt x="799871" y="520700"/>
                  </a:lnTo>
                  <a:lnTo>
                    <a:pt x="765111" y="520700"/>
                  </a:lnTo>
                  <a:lnTo>
                    <a:pt x="731888" y="533400"/>
                  </a:lnTo>
                  <a:lnTo>
                    <a:pt x="699541" y="546100"/>
                  </a:lnTo>
                  <a:lnTo>
                    <a:pt x="667397" y="571500"/>
                  </a:lnTo>
                  <a:lnTo>
                    <a:pt x="668147" y="558800"/>
                  </a:lnTo>
                  <a:lnTo>
                    <a:pt x="668845" y="558800"/>
                  </a:lnTo>
                  <a:lnTo>
                    <a:pt x="690346" y="520700"/>
                  </a:lnTo>
                  <a:lnTo>
                    <a:pt x="701611" y="508000"/>
                  </a:lnTo>
                  <a:lnTo>
                    <a:pt x="724141" y="482600"/>
                  </a:lnTo>
                  <a:lnTo>
                    <a:pt x="766470" y="457200"/>
                  </a:lnTo>
                  <a:lnTo>
                    <a:pt x="892886" y="457200"/>
                  </a:lnTo>
                  <a:lnTo>
                    <a:pt x="892886" y="419100"/>
                  </a:lnTo>
                  <a:lnTo>
                    <a:pt x="775995" y="419100"/>
                  </a:lnTo>
                  <a:lnTo>
                    <a:pt x="735177" y="431800"/>
                  </a:lnTo>
                  <a:lnTo>
                    <a:pt x="698881" y="457200"/>
                  </a:lnTo>
                  <a:lnTo>
                    <a:pt x="667092" y="495300"/>
                  </a:lnTo>
                  <a:lnTo>
                    <a:pt x="660285" y="495300"/>
                  </a:lnTo>
                  <a:lnTo>
                    <a:pt x="656361" y="508000"/>
                  </a:lnTo>
                  <a:lnTo>
                    <a:pt x="651141" y="508000"/>
                  </a:lnTo>
                  <a:lnTo>
                    <a:pt x="649198" y="495300"/>
                  </a:lnTo>
                  <a:lnTo>
                    <a:pt x="647128" y="482600"/>
                  </a:lnTo>
                  <a:lnTo>
                    <a:pt x="644956" y="482600"/>
                  </a:lnTo>
                  <a:lnTo>
                    <a:pt x="622960" y="419100"/>
                  </a:lnTo>
                  <a:lnTo>
                    <a:pt x="594169" y="368300"/>
                  </a:lnTo>
                  <a:lnTo>
                    <a:pt x="559003" y="330200"/>
                  </a:lnTo>
                  <a:lnTo>
                    <a:pt x="517842" y="304800"/>
                  </a:lnTo>
                  <a:lnTo>
                    <a:pt x="502716" y="304800"/>
                  </a:lnTo>
                  <a:lnTo>
                    <a:pt x="503986" y="292100"/>
                  </a:lnTo>
                  <a:lnTo>
                    <a:pt x="504659" y="292100"/>
                  </a:lnTo>
                  <a:lnTo>
                    <a:pt x="504825" y="279400"/>
                  </a:lnTo>
                  <a:lnTo>
                    <a:pt x="504317" y="266700"/>
                  </a:lnTo>
                  <a:lnTo>
                    <a:pt x="502119" y="254000"/>
                  </a:lnTo>
                  <a:lnTo>
                    <a:pt x="500443" y="254000"/>
                  </a:lnTo>
                  <a:lnTo>
                    <a:pt x="495947" y="241300"/>
                  </a:lnTo>
                  <a:lnTo>
                    <a:pt x="493153" y="228600"/>
                  </a:lnTo>
                  <a:lnTo>
                    <a:pt x="486486" y="215900"/>
                  </a:lnTo>
                  <a:lnTo>
                    <a:pt x="482663" y="215900"/>
                  </a:lnTo>
                  <a:lnTo>
                    <a:pt x="474052" y="203200"/>
                  </a:lnTo>
                  <a:lnTo>
                    <a:pt x="469315" y="203200"/>
                  </a:lnTo>
                  <a:lnTo>
                    <a:pt x="468972" y="202780"/>
                  </a:lnTo>
                  <a:lnTo>
                    <a:pt x="468972" y="279400"/>
                  </a:lnTo>
                  <a:lnTo>
                    <a:pt x="468401" y="292100"/>
                  </a:lnTo>
                  <a:lnTo>
                    <a:pt x="462826" y="279400"/>
                  </a:lnTo>
                  <a:lnTo>
                    <a:pt x="457847" y="279400"/>
                  </a:lnTo>
                  <a:lnTo>
                    <a:pt x="449097" y="266700"/>
                  </a:lnTo>
                  <a:lnTo>
                    <a:pt x="445465" y="266700"/>
                  </a:lnTo>
                  <a:lnTo>
                    <a:pt x="439686" y="254000"/>
                  </a:lnTo>
                  <a:lnTo>
                    <a:pt x="437654" y="241300"/>
                  </a:lnTo>
                  <a:lnTo>
                    <a:pt x="435254" y="228600"/>
                  </a:lnTo>
                  <a:lnTo>
                    <a:pt x="434936" y="228600"/>
                  </a:lnTo>
                  <a:lnTo>
                    <a:pt x="435495" y="215900"/>
                  </a:lnTo>
                  <a:lnTo>
                    <a:pt x="441083" y="215900"/>
                  </a:lnTo>
                  <a:lnTo>
                    <a:pt x="446062" y="228600"/>
                  </a:lnTo>
                  <a:lnTo>
                    <a:pt x="454825" y="241300"/>
                  </a:lnTo>
                  <a:lnTo>
                    <a:pt x="458457" y="241300"/>
                  </a:lnTo>
                  <a:lnTo>
                    <a:pt x="464223" y="254000"/>
                  </a:lnTo>
                  <a:lnTo>
                    <a:pt x="466267" y="254000"/>
                  </a:lnTo>
                  <a:lnTo>
                    <a:pt x="468655" y="279400"/>
                  </a:lnTo>
                  <a:lnTo>
                    <a:pt x="468972" y="279400"/>
                  </a:lnTo>
                  <a:lnTo>
                    <a:pt x="468972" y="202780"/>
                  </a:lnTo>
                  <a:lnTo>
                    <a:pt x="459016" y="190500"/>
                  </a:lnTo>
                  <a:lnTo>
                    <a:pt x="453517" y="190500"/>
                  </a:lnTo>
                  <a:lnTo>
                    <a:pt x="441858" y="177800"/>
                  </a:lnTo>
                  <a:lnTo>
                    <a:pt x="407352" y="177800"/>
                  </a:lnTo>
                  <a:lnTo>
                    <a:pt x="406539" y="190500"/>
                  </a:lnTo>
                  <a:lnTo>
                    <a:pt x="403237" y="190500"/>
                  </a:lnTo>
                  <a:lnTo>
                    <a:pt x="400977" y="203200"/>
                  </a:lnTo>
                  <a:lnTo>
                    <a:pt x="399757" y="215900"/>
                  </a:lnTo>
                  <a:lnTo>
                    <a:pt x="399567" y="228600"/>
                  </a:lnTo>
                  <a:lnTo>
                    <a:pt x="400405" y="241300"/>
                  </a:lnTo>
                  <a:lnTo>
                    <a:pt x="402285" y="254000"/>
                  </a:lnTo>
                  <a:lnTo>
                    <a:pt x="405180" y="254000"/>
                  </a:lnTo>
                  <a:lnTo>
                    <a:pt x="409105" y="266700"/>
                  </a:lnTo>
                  <a:lnTo>
                    <a:pt x="370586" y="254000"/>
                  </a:lnTo>
                  <a:lnTo>
                    <a:pt x="373037" y="241300"/>
                  </a:lnTo>
                  <a:lnTo>
                    <a:pt x="375018" y="241300"/>
                  </a:lnTo>
                  <a:lnTo>
                    <a:pt x="376542" y="228600"/>
                  </a:lnTo>
                  <a:lnTo>
                    <a:pt x="377609" y="215900"/>
                  </a:lnTo>
                  <a:lnTo>
                    <a:pt x="378218" y="203200"/>
                  </a:lnTo>
                  <a:lnTo>
                    <a:pt x="378345" y="190500"/>
                  </a:lnTo>
                  <a:lnTo>
                    <a:pt x="378015" y="190500"/>
                  </a:lnTo>
                  <a:lnTo>
                    <a:pt x="377215" y="177800"/>
                  </a:lnTo>
                  <a:lnTo>
                    <a:pt x="375945" y="165100"/>
                  </a:lnTo>
                  <a:lnTo>
                    <a:pt x="374218" y="152400"/>
                  </a:lnTo>
                  <a:lnTo>
                    <a:pt x="372033" y="139700"/>
                  </a:lnTo>
                  <a:lnTo>
                    <a:pt x="369379" y="139700"/>
                  </a:lnTo>
                  <a:lnTo>
                    <a:pt x="366293" y="127000"/>
                  </a:lnTo>
                  <a:lnTo>
                    <a:pt x="362762" y="114300"/>
                  </a:lnTo>
                  <a:lnTo>
                    <a:pt x="358800" y="101600"/>
                  </a:lnTo>
                  <a:lnTo>
                    <a:pt x="354406" y="101600"/>
                  </a:lnTo>
                  <a:lnTo>
                    <a:pt x="349592" y="88900"/>
                  </a:lnTo>
                  <a:lnTo>
                    <a:pt x="344385" y="76200"/>
                  </a:lnTo>
                  <a:lnTo>
                    <a:pt x="342633" y="76200"/>
                  </a:lnTo>
                  <a:lnTo>
                    <a:pt x="342633" y="190500"/>
                  </a:lnTo>
                  <a:lnTo>
                    <a:pt x="342544" y="203200"/>
                  </a:lnTo>
                  <a:lnTo>
                    <a:pt x="342138" y="215900"/>
                  </a:lnTo>
                  <a:lnTo>
                    <a:pt x="341401" y="215900"/>
                  </a:lnTo>
                  <a:lnTo>
                    <a:pt x="340347" y="228600"/>
                  </a:lnTo>
                  <a:lnTo>
                    <a:pt x="338975" y="228600"/>
                  </a:lnTo>
                  <a:lnTo>
                    <a:pt x="337273" y="241300"/>
                  </a:lnTo>
                  <a:lnTo>
                    <a:pt x="330454" y="241300"/>
                  </a:lnTo>
                  <a:lnTo>
                    <a:pt x="323799" y="228600"/>
                  </a:lnTo>
                  <a:lnTo>
                    <a:pt x="318477" y="228600"/>
                  </a:lnTo>
                  <a:lnTo>
                    <a:pt x="318477" y="279400"/>
                  </a:lnTo>
                  <a:lnTo>
                    <a:pt x="313055" y="292100"/>
                  </a:lnTo>
                  <a:lnTo>
                    <a:pt x="307060" y="304800"/>
                  </a:lnTo>
                  <a:lnTo>
                    <a:pt x="300507" y="304800"/>
                  </a:lnTo>
                  <a:lnTo>
                    <a:pt x="293484" y="317500"/>
                  </a:lnTo>
                  <a:lnTo>
                    <a:pt x="278244" y="317500"/>
                  </a:lnTo>
                  <a:lnTo>
                    <a:pt x="270027" y="330200"/>
                  </a:lnTo>
                  <a:lnTo>
                    <a:pt x="234797" y="330200"/>
                  </a:lnTo>
                  <a:lnTo>
                    <a:pt x="225602" y="342900"/>
                  </a:lnTo>
                  <a:lnTo>
                    <a:pt x="216420" y="342900"/>
                  </a:lnTo>
                  <a:lnTo>
                    <a:pt x="207264" y="330200"/>
                  </a:lnTo>
                  <a:lnTo>
                    <a:pt x="202996" y="330200"/>
                  </a:lnTo>
                  <a:lnTo>
                    <a:pt x="208419" y="317500"/>
                  </a:lnTo>
                  <a:lnTo>
                    <a:pt x="214401" y="317500"/>
                  </a:lnTo>
                  <a:lnTo>
                    <a:pt x="220941" y="304800"/>
                  </a:lnTo>
                  <a:lnTo>
                    <a:pt x="227965" y="304800"/>
                  </a:lnTo>
                  <a:lnTo>
                    <a:pt x="235394" y="292100"/>
                  </a:lnTo>
                  <a:lnTo>
                    <a:pt x="251434" y="292100"/>
                  </a:lnTo>
                  <a:lnTo>
                    <a:pt x="259943" y="279400"/>
                  </a:lnTo>
                  <a:lnTo>
                    <a:pt x="318477" y="279400"/>
                  </a:lnTo>
                  <a:lnTo>
                    <a:pt x="318477" y="228600"/>
                  </a:lnTo>
                  <a:lnTo>
                    <a:pt x="310997" y="228600"/>
                  </a:lnTo>
                  <a:lnTo>
                    <a:pt x="304876" y="215900"/>
                  </a:lnTo>
                  <a:lnTo>
                    <a:pt x="293268" y="215900"/>
                  </a:lnTo>
                  <a:lnTo>
                    <a:pt x="287782" y="203200"/>
                  </a:lnTo>
                  <a:lnTo>
                    <a:pt x="282524" y="203200"/>
                  </a:lnTo>
                  <a:lnTo>
                    <a:pt x="277520" y="190500"/>
                  </a:lnTo>
                  <a:lnTo>
                    <a:pt x="272770" y="190500"/>
                  </a:lnTo>
                  <a:lnTo>
                    <a:pt x="268274" y="177800"/>
                  </a:lnTo>
                  <a:lnTo>
                    <a:pt x="264045" y="177800"/>
                  </a:lnTo>
                  <a:lnTo>
                    <a:pt x="260096" y="165100"/>
                  </a:lnTo>
                  <a:lnTo>
                    <a:pt x="256438" y="165100"/>
                  </a:lnTo>
                  <a:lnTo>
                    <a:pt x="253060" y="152400"/>
                  </a:lnTo>
                  <a:lnTo>
                    <a:pt x="249974" y="152400"/>
                  </a:lnTo>
                  <a:lnTo>
                    <a:pt x="247192" y="139700"/>
                  </a:lnTo>
                  <a:lnTo>
                    <a:pt x="244716" y="139700"/>
                  </a:lnTo>
                  <a:lnTo>
                    <a:pt x="242557" y="127000"/>
                  </a:lnTo>
                  <a:lnTo>
                    <a:pt x="240703" y="114300"/>
                  </a:lnTo>
                  <a:lnTo>
                    <a:pt x="239166" y="114300"/>
                  </a:lnTo>
                  <a:lnTo>
                    <a:pt x="237959" y="101600"/>
                  </a:lnTo>
                  <a:lnTo>
                    <a:pt x="237070" y="101600"/>
                  </a:lnTo>
                  <a:lnTo>
                    <a:pt x="236512" y="88900"/>
                  </a:lnTo>
                  <a:lnTo>
                    <a:pt x="236270" y="76200"/>
                  </a:lnTo>
                  <a:lnTo>
                    <a:pt x="236766" y="63500"/>
                  </a:lnTo>
                  <a:lnTo>
                    <a:pt x="237515" y="63500"/>
                  </a:lnTo>
                  <a:lnTo>
                    <a:pt x="238569" y="50800"/>
                  </a:lnTo>
                  <a:lnTo>
                    <a:pt x="239953" y="38100"/>
                  </a:lnTo>
                  <a:lnTo>
                    <a:pt x="255130" y="38100"/>
                  </a:lnTo>
                  <a:lnTo>
                    <a:pt x="261607" y="50800"/>
                  </a:lnTo>
                  <a:lnTo>
                    <a:pt x="274040" y="50800"/>
                  </a:lnTo>
                  <a:lnTo>
                    <a:pt x="279946" y="63500"/>
                  </a:lnTo>
                  <a:lnTo>
                    <a:pt x="285635" y="63500"/>
                  </a:lnTo>
                  <a:lnTo>
                    <a:pt x="291122" y="76200"/>
                  </a:lnTo>
                  <a:lnTo>
                    <a:pt x="301371" y="76200"/>
                  </a:lnTo>
                  <a:lnTo>
                    <a:pt x="306120" y="88900"/>
                  </a:lnTo>
                  <a:lnTo>
                    <a:pt x="310616" y="88900"/>
                  </a:lnTo>
                  <a:lnTo>
                    <a:pt x="314845" y="101600"/>
                  </a:lnTo>
                  <a:lnTo>
                    <a:pt x="318782" y="101600"/>
                  </a:lnTo>
                  <a:lnTo>
                    <a:pt x="322453" y="114300"/>
                  </a:lnTo>
                  <a:lnTo>
                    <a:pt x="325831" y="127000"/>
                  </a:lnTo>
                  <a:lnTo>
                    <a:pt x="328917" y="127000"/>
                  </a:lnTo>
                  <a:lnTo>
                    <a:pt x="331698" y="139700"/>
                  </a:lnTo>
                  <a:lnTo>
                    <a:pt x="334162" y="139700"/>
                  </a:lnTo>
                  <a:lnTo>
                    <a:pt x="336334" y="152400"/>
                  </a:lnTo>
                  <a:lnTo>
                    <a:pt x="338188" y="152400"/>
                  </a:lnTo>
                  <a:lnTo>
                    <a:pt x="339725" y="165100"/>
                  </a:lnTo>
                  <a:lnTo>
                    <a:pt x="340931" y="177800"/>
                  </a:lnTo>
                  <a:lnTo>
                    <a:pt x="341820" y="177800"/>
                  </a:lnTo>
                  <a:lnTo>
                    <a:pt x="342392" y="190500"/>
                  </a:lnTo>
                  <a:lnTo>
                    <a:pt x="342633" y="190500"/>
                  </a:lnTo>
                  <a:lnTo>
                    <a:pt x="342633" y="76200"/>
                  </a:lnTo>
                  <a:lnTo>
                    <a:pt x="338797" y="76200"/>
                  </a:lnTo>
                  <a:lnTo>
                    <a:pt x="332803" y="63500"/>
                  </a:lnTo>
                  <a:lnTo>
                    <a:pt x="326440" y="63500"/>
                  </a:lnTo>
                  <a:lnTo>
                    <a:pt x="319735" y="50800"/>
                  </a:lnTo>
                  <a:lnTo>
                    <a:pt x="312686" y="38100"/>
                  </a:lnTo>
                  <a:lnTo>
                    <a:pt x="305295" y="38100"/>
                  </a:lnTo>
                  <a:lnTo>
                    <a:pt x="297599" y="25400"/>
                  </a:lnTo>
                  <a:lnTo>
                    <a:pt x="289636" y="25400"/>
                  </a:lnTo>
                  <a:lnTo>
                    <a:pt x="281381" y="12700"/>
                  </a:lnTo>
                  <a:lnTo>
                    <a:pt x="264096" y="12700"/>
                  </a:lnTo>
                  <a:lnTo>
                    <a:pt x="255130" y="0"/>
                  </a:lnTo>
                  <a:lnTo>
                    <a:pt x="213766" y="0"/>
                  </a:lnTo>
                  <a:lnTo>
                    <a:pt x="211124" y="12700"/>
                  </a:lnTo>
                  <a:lnTo>
                    <a:pt x="208788" y="25400"/>
                  </a:lnTo>
                  <a:lnTo>
                    <a:pt x="206743" y="25400"/>
                  </a:lnTo>
                  <a:lnTo>
                    <a:pt x="204990" y="38100"/>
                  </a:lnTo>
                  <a:lnTo>
                    <a:pt x="203530" y="50800"/>
                  </a:lnTo>
                  <a:lnTo>
                    <a:pt x="202374" y="50800"/>
                  </a:lnTo>
                  <a:lnTo>
                    <a:pt x="201510" y="63500"/>
                  </a:lnTo>
                  <a:lnTo>
                    <a:pt x="200964" y="63500"/>
                  </a:lnTo>
                  <a:lnTo>
                    <a:pt x="200710" y="76200"/>
                  </a:lnTo>
                  <a:lnTo>
                    <a:pt x="200761" y="88900"/>
                  </a:lnTo>
                  <a:lnTo>
                    <a:pt x="201117" y="88900"/>
                  </a:lnTo>
                  <a:lnTo>
                    <a:pt x="201777" y="101600"/>
                  </a:lnTo>
                  <a:lnTo>
                    <a:pt x="202742" y="114300"/>
                  </a:lnTo>
                  <a:lnTo>
                    <a:pt x="204012" y="114300"/>
                  </a:lnTo>
                  <a:lnTo>
                    <a:pt x="205574" y="127000"/>
                  </a:lnTo>
                  <a:lnTo>
                    <a:pt x="207429" y="127000"/>
                  </a:lnTo>
                  <a:lnTo>
                    <a:pt x="209588" y="139700"/>
                  </a:lnTo>
                  <a:lnTo>
                    <a:pt x="212026" y="152400"/>
                  </a:lnTo>
                  <a:lnTo>
                    <a:pt x="214769" y="152400"/>
                  </a:lnTo>
                  <a:lnTo>
                    <a:pt x="217779" y="165100"/>
                  </a:lnTo>
                  <a:lnTo>
                    <a:pt x="221081" y="165100"/>
                  </a:lnTo>
                  <a:lnTo>
                    <a:pt x="224650" y="177800"/>
                  </a:lnTo>
                  <a:lnTo>
                    <a:pt x="228485" y="190500"/>
                  </a:lnTo>
                  <a:lnTo>
                    <a:pt x="232600" y="190500"/>
                  </a:lnTo>
                  <a:lnTo>
                    <a:pt x="236969" y="203200"/>
                  </a:lnTo>
                  <a:lnTo>
                    <a:pt x="241579" y="203200"/>
                  </a:lnTo>
                  <a:lnTo>
                    <a:pt x="246443" y="215900"/>
                  </a:lnTo>
                  <a:lnTo>
                    <a:pt x="251548" y="215900"/>
                  </a:lnTo>
                  <a:lnTo>
                    <a:pt x="256895" y="228600"/>
                  </a:lnTo>
                  <a:lnTo>
                    <a:pt x="262445" y="228600"/>
                  </a:lnTo>
                  <a:lnTo>
                    <a:pt x="268224" y="241300"/>
                  </a:lnTo>
                  <a:lnTo>
                    <a:pt x="254698" y="241300"/>
                  </a:lnTo>
                  <a:lnTo>
                    <a:pt x="245237" y="254000"/>
                  </a:lnTo>
                  <a:lnTo>
                    <a:pt x="226987" y="254000"/>
                  </a:lnTo>
                  <a:lnTo>
                    <a:pt x="218363" y="266700"/>
                  </a:lnTo>
                  <a:lnTo>
                    <a:pt x="210083" y="266700"/>
                  </a:lnTo>
                  <a:lnTo>
                    <a:pt x="202158" y="279400"/>
                  </a:lnTo>
                  <a:lnTo>
                    <a:pt x="194665" y="279400"/>
                  </a:lnTo>
                  <a:lnTo>
                    <a:pt x="187642" y="292100"/>
                  </a:lnTo>
                  <a:lnTo>
                    <a:pt x="181114" y="292100"/>
                  </a:lnTo>
                  <a:lnTo>
                    <a:pt x="175069" y="304800"/>
                  </a:lnTo>
                  <a:lnTo>
                    <a:pt x="169557" y="317500"/>
                  </a:lnTo>
                  <a:lnTo>
                    <a:pt x="164617" y="317500"/>
                  </a:lnTo>
                  <a:lnTo>
                    <a:pt x="160274" y="330200"/>
                  </a:lnTo>
                  <a:lnTo>
                    <a:pt x="156514" y="342900"/>
                  </a:lnTo>
                  <a:lnTo>
                    <a:pt x="155397" y="342900"/>
                  </a:lnTo>
                  <a:lnTo>
                    <a:pt x="155562" y="355600"/>
                  </a:lnTo>
                  <a:lnTo>
                    <a:pt x="162509" y="355600"/>
                  </a:lnTo>
                  <a:lnTo>
                    <a:pt x="164401" y="368300"/>
                  </a:lnTo>
                  <a:lnTo>
                    <a:pt x="276352" y="368300"/>
                  </a:lnTo>
                  <a:lnTo>
                    <a:pt x="282829" y="355600"/>
                  </a:lnTo>
                  <a:lnTo>
                    <a:pt x="301371" y="355600"/>
                  </a:lnTo>
                  <a:lnTo>
                    <a:pt x="307238" y="342900"/>
                  </a:lnTo>
                  <a:lnTo>
                    <a:pt x="318401" y="342900"/>
                  </a:lnTo>
                  <a:lnTo>
                    <a:pt x="323697" y="330200"/>
                  </a:lnTo>
                  <a:lnTo>
                    <a:pt x="328777" y="330200"/>
                  </a:lnTo>
                  <a:lnTo>
                    <a:pt x="333616" y="317500"/>
                  </a:lnTo>
                  <a:lnTo>
                    <a:pt x="342607" y="317500"/>
                  </a:lnTo>
                  <a:lnTo>
                    <a:pt x="346722" y="304800"/>
                  </a:lnTo>
                  <a:lnTo>
                    <a:pt x="350570" y="304800"/>
                  </a:lnTo>
                  <a:lnTo>
                    <a:pt x="354152" y="292100"/>
                  </a:lnTo>
                  <a:lnTo>
                    <a:pt x="357454" y="292100"/>
                  </a:lnTo>
                  <a:lnTo>
                    <a:pt x="491642" y="330200"/>
                  </a:lnTo>
                  <a:lnTo>
                    <a:pt x="491286" y="342900"/>
                  </a:lnTo>
                  <a:lnTo>
                    <a:pt x="537895" y="368300"/>
                  </a:lnTo>
                  <a:lnTo>
                    <a:pt x="572681" y="406400"/>
                  </a:lnTo>
                  <a:lnTo>
                    <a:pt x="597382" y="457200"/>
                  </a:lnTo>
                  <a:lnTo>
                    <a:pt x="613702" y="495300"/>
                  </a:lnTo>
                  <a:lnTo>
                    <a:pt x="623392" y="546100"/>
                  </a:lnTo>
                  <a:lnTo>
                    <a:pt x="628180" y="584200"/>
                  </a:lnTo>
                  <a:lnTo>
                    <a:pt x="626948" y="596900"/>
                  </a:lnTo>
                  <a:lnTo>
                    <a:pt x="626148" y="609600"/>
                  </a:lnTo>
                  <a:lnTo>
                    <a:pt x="625754" y="609600"/>
                  </a:lnTo>
                  <a:lnTo>
                    <a:pt x="625779" y="635000"/>
                  </a:lnTo>
                  <a:lnTo>
                    <a:pt x="626808" y="698500"/>
                  </a:lnTo>
                  <a:lnTo>
                    <a:pt x="627049" y="736600"/>
                  </a:lnTo>
                  <a:lnTo>
                    <a:pt x="627126" y="825500"/>
                  </a:lnTo>
                  <a:lnTo>
                    <a:pt x="621525" y="825500"/>
                  </a:lnTo>
                  <a:lnTo>
                    <a:pt x="620598" y="812800"/>
                  </a:lnTo>
                  <a:lnTo>
                    <a:pt x="616369" y="812800"/>
                  </a:lnTo>
                  <a:lnTo>
                    <a:pt x="616369" y="888314"/>
                  </a:lnTo>
                  <a:lnTo>
                    <a:pt x="520255" y="850900"/>
                  </a:lnTo>
                  <a:lnTo>
                    <a:pt x="485482" y="838200"/>
                  </a:lnTo>
                  <a:lnTo>
                    <a:pt x="601840" y="914400"/>
                  </a:lnTo>
                  <a:lnTo>
                    <a:pt x="522770" y="914400"/>
                  </a:lnTo>
                  <a:lnTo>
                    <a:pt x="497751" y="901700"/>
                  </a:lnTo>
                  <a:lnTo>
                    <a:pt x="457479" y="889000"/>
                  </a:lnTo>
                  <a:lnTo>
                    <a:pt x="426529" y="863600"/>
                  </a:lnTo>
                  <a:lnTo>
                    <a:pt x="404888" y="825500"/>
                  </a:lnTo>
                  <a:lnTo>
                    <a:pt x="392569" y="774700"/>
                  </a:lnTo>
                  <a:lnTo>
                    <a:pt x="471957" y="774700"/>
                  </a:lnTo>
                  <a:lnTo>
                    <a:pt x="519010" y="787400"/>
                  </a:lnTo>
                  <a:lnTo>
                    <a:pt x="561327" y="812800"/>
                  </a:lnTo>
                  <a:lnTo>
                    <a:pt x="595134" y="838200"/>
                  </a:lnTo>
                  <a:lnTo>
                    <a:pt x="616369" y="888314"/>
                  </a:lnTo>
                  <a:lnTo>
                    <a:pt x="616369" y="812800"/>
                  </a:lnTo>
                  <a:lnTo>
                    <a:pt x="612076" y="812800"/>
                  </a:lnTo>
                  <a:lnTo>
                    <a:pt x="604608" y="800100"/>
                  </a:lnTo>
                  <a:lnTo>
                    <a:pt x="596684" y="787400"/>
                  </a:lnTo>
                  <a:lnTo>
                    <a:pt x="588289" y="787400"/>
                  </a:lnTo>
                  <a:lnTo>
                    <a:pt x="579488" y="774700"/>
                  </a:lnTo>
                  <a:lnTo>
                    <a:pt x="570318" y="774700"/>
                  </a:lnTo>
                  <a:lnTo>
                    <a:pt x="560819" y="762000"/>
                  </a:lnTo>
                  <a:lnTo>
                    <a:pt x="540804" y="762000"/>
                  </a:lnTo>
                  <a:lnTo>
                    <a:pt x="530440" y="749300"/>
                  </a:lnTo>
                  <a:lnTo>
                    <a:pt x="498132" y="749300"/>
                  </a:lnTo>
                  <a:lnTo>
                    <a:pt x="487121" y="736600"/>
                  </a:lnTo>
                  <a:lnTo>
                    <a:pt x="368719" y="736600"/>
                  </a:lnTo>
                  <a:lnTo>
                    <a:pt x="362483" y="749300"/>
                  </a:lnTo>
                  <a:lnTo>
                    <a:pt x="358876" y="749300"/>
                  </a:lnTo>
                  <a:lnTo>
                    <a:pt x="357708" y="762000"/>
                  </a:lnTo>
                  <a:lnTo>
                    <a:pt x="358394" y="774700"/>
                  </a:lnTo>
                  <a:lnTo>
                    <a:pt x="360413" y="787400"/>
                  </a:lnTo>
                  <a:lnTo>
                    <a:pt x="363778" y="812800"/>
                  </a:lnTo>
                  <a:lnTo>
                    <a:pt x="381571" y="850900"/>
                  </a:lnTo>
                  <a:lnTo>
                    <a:pt x="427316" y="901700"/>
                  </a:lnTo>
                  <a:lnTo>
                    <a:pt x="459092" y="927100"/>
                  </a:lnTo>
                  <a:lnTo>
                    <a:pt x="534263" y="952500"/>
                  </a:lnTo>
                  <a:lnTo>
                    <a:pt x="625525" y="952500"/>
                  </a:lnTo>
                  <a:lnTo>
                    <a:pt x="625525" y="1206500"/>
                  </a:lnTo>
                  <a:lnTo>
                    <a:pt x="619264" y="1193800"/>
                  </a:lnTo>
                  <a:lnTo>
                    <a:pt x="612406" y="1181100"/>
                  </a:lnTo>
                  <a:lnTo>
                    <a:pt x="611606" y="1179741"/>
                  </a:lnTo>
                  <a:lnTo>
                    <a:pt x="611606" y="1270000"/>
                  </a:lnTo>
                  <a:lnTo>
                    <a:pt x="562775" y="1244600"/>
                  </a:lnTo>
                  <a:lnTo>
                    <a:pt x="538327" y="1219200"/>
                  </a:lnTo>
                  <a:lnTo>
                    <a:pt x="513676" y="1206500"/>
                  </a:lnTo>
                  <a:lnTo>
                    <a:pt x="488467" y="1193800"/>
                  </a:lnTo>
                  <a:lnTo>
                    <a:pt x="462457" y="1181100"/>
                  </a:lnTo>
                  <a:lnTo>
                    <a:pt x="435508" y="1181100"/>
                  </a:lnTo>
                  <a:lnTo>
                    <a:pt x="407454" y="1168400"/>
                  </a:lnTo>
                  <a:lnTo>
                    <a:pt x="453580" y="1206500"/>
                  </a:lnTo>
                  <a:lnTo>
                    <a:pt x="499249" y="1231900"/>
                  </a:lnTo>
                  <a:lnTo>
                    <a:pt x="543433" y="1257300"/>
                  </a:lnTo>
                  <a:lnTo>
                    <a:pt x="585101" y="1295400"/>
                  </a:lnTo>
                  <a:lnTo>
                    <a:pt x="482777" y="1295400"/>
                  </a:lnTo>
                  <a:lnTo>
                    <a:pt x="436562" y="1282700"/>
                  </a:lnTo>
                  <a:lnTo>
                    <a:pt x="395808" y="1257300"/>
                  </a:lnTo>
                  <a:lnTo>
                    <a:pt x="361378" y="1231900"/>
                  </a:lnTo>
                  <a:lnTo>
                    <a:pt x="334137" y="1193800"/>
                  </a:lnTo>
                  <a:lnTo>
                    <a:pt x="314947" y="1155700"/>
                  </a:lnTo>
                  <a:lnTo>
                    <a:pt x="304673" y="1104900"/>
                  </a:lnTo>
                  <a:lnTo>
                    <a:pt x="441058" y="1104900"/>
                  </a:lnTo>
                  <a:lnTo>
                    <a:pt x="488416" y="1117600"/>
                  </a:lnTo>
                  <a:lnTo>
                    <a:pt x="529386" y="1143000"/>
                  </a:lnTo>
                  <a:lnTo>
                    <a:pt x="563956" y="1168400"/>
                  </a:lnTo>
                  <a:lnTo>
                    <a:pt x="592124" y="1219200"/>
                  </a:lnTo>
                  <a:lnTo>
                    <a:pt x="608317" y="1257300"/>
                  </a:lnTo>
                  <a:lnTo>
                    <a:pt x="611606" y="1270000"/>
                  </a:lnTo>
                  <a:lnTo>
                    <a:pt x="611606" y="1179741"/>
                  </a:lnTo>
                  <a:lnTo>
                    <a:pt x="604977" y="1168400"/>
                  </a:lnTo>
                  <a:lnTo>
                    <a:pt x="596938" y="1155700"/>
                  </a:lnTo>
                  <a:lnTo>
                    <a:pt x="588365" y="1143000"/>
                  </a:lnTo>
                  <a:lnTo>
                    <a:pt x="579297" y="1143000"/>
                  </a:lnTo>
                  <a:lnTo>
                    <a:pt x="569734" y="1130300"/>
                  </a:lnTo>
                  <a:lnTo>
                    <a:pt x="559663" y="1117600"/>
                  </a:lnTo>
                  <a:lnTo>
                    <a:pt x="549173" y="1117600"/>
                  </a:lnTo>
                  <a:lnTo>
                    <a:pt x="538289" y="1104900"/>
                  </a:lnTo>
                  <a:lnTo>
                    <a:pt x="527024" y="1104900"/>
                  </a:lnTo>
                  <a:lnTo>
                    <a:pt x="515378" y="1092200"/>
                  </a:lnTo>
                  <a:lnTo>
                    <a:pt x="503415" y="1092200"/>
                  </a:lnTo>
                  <a:lnTo>
                    <a:pt x="491210" y="1079500"/>
                  </a:lnTo>
                  <a:lnTo>
                    <a:pt x="466051" y="1079500"/>
                  </a:lnTo>
                  <a:lnTo>
                    <a:pt x="449402" y="1066800"/>
                  </a:lnTo>
                  <a:lnTo>
                    <a:pt x="280060" y="1066800"/>
                  </a:lnTo>
                  <a:lnTo>
                    <a:pt x="274345" y="1079500"/>
                  </a:lnTo>
                  <a:lnTo>
                    <a:pt x="269913" y="1079500"/>
                  </a:lnTo>
                  <a:lnTo>
                    <a:pt x="269913" y="1092200"/>
                  </a:lnTo>
                  <a:lnTo>
                    <a:pt x="273634" y="1117600"/>
                  </a:lnTo>
                  <a:lnTo>
                    <a:pt x="274916" y="1130300"/>
                  </a:lnTo>
                  <a:lnTo>
                    <a:pt x="288607" y="1181100"/>
                  </a:lnTo>
                  <a:lnTo>
                    <a:pt x="312305" y="1219200"/>
                  </a:lnTo>
                  <a:lnTo>
                    <a:pt x="344525" y="1257300"/>
                  </a:lnTo>
                  <a:lnTo>
                    <a:pt x="383768" y="1295400"/>
                  </a:lnTo>
                  <a:lnTo>
                    <a:pt x="428561" y="1320800"/>
                  </a:lnTo>
                  <a:lnTo>
                    <a:pt x="477418" y="1333500"/>
                  </a:lnTo>
                  <a:lnTo>
                    <a:pt x="618566" y="1333500"/>
                  </a:lnTo>
                  <a:lnTo>
                    <a:pt x="618566" y="1460500"/>
                  </a:lnTo>
                  <a:lnTo>
                    <a:pt x="617994" y="1485900"/>
                  </a:lnTo>
                  <a:lnTo>
                    <a:pt x="617626" y="1524000"/>
                  </a:lnTo>
                  <a:lnTo>
                    <a:pt x="617435" y="1574800"/>
                  </a:lnTo>
                  <a:lnTo>
                    <a:pt x="617461" y="1701800"/>
                  </a:lnTo>
                  <a:lnTo>
                    <a:pt x="611606" y="1690255"/>
                  </a:lnTo>
                  <a:lnTo>
                    <a:pt x="611606" y="1778000"/>
                  </a:lnTo>
                  <a:lnTo>
                    <a:pt x="513537" y="1727200"/>
                  </a:lnTo>
                  <a:lnTo>
                    <a:pt x="513676" y="1727200"/>
                  </a:lnTo>
                  <a:lnTo>
                    <a:pt x="488467" y="1714500"/>
                  </a:lnTo>
                  <a:lnTo>
                    <a:pt x="462457" y="1701800"/>
                  </a:lnTo>
                  <a:lnTo>
                    <a:pt x="435508" y="1689100"/>
                  </a:lnTo>
                  <a:lnTo>
                    <a:pt x="407454" y="1689100"/>
                  </a:lnTo>
                  <a:lnTo>
                    <a:pt x="453580" y="1714500"/>
                  </a:lnTo>
                  <a:lnTo>
                    <a:pt x="499249" y="1752600"/>
                  </a:lnTo>
                  <a:lnTo>
                    <a:pt x="543433" y="1778000"/>
                  </a:lnTo>
                  <a:lnTo>
                    <a:pt x="585101" y="1816100"/>
                  </a:lnTo>
                  <a:lnTo>
                    <a:pt x="482777" y="1816100"/>
                  </a:lnTo>
                  <a:lnTo>
                    <a:pt x="436562" y="1803400"/>
                  </a:lnTo>
                  <a:lnTo>
                    <a:pt x="395808" y="1778000"/>
                  </a:lnTo>
                  <a:lnTo>
                    <a:pt x="361378" y="1752600"/>
                  </a:lnTo>
                  <a:lnTo>
                    <a:pt x="334137" y="1714500"/>
                  </a:lnTo>
                  <a:lnTo>
                    <a:pt x="314947" y="1676400"/>
                  </a:lnTo>
                  <a:lnTo>
                    <a:pt x="304673" y="1625600"/>
                  </a:lnTo>
                  <a:lnTo>
                    <a:pt x="303822" y="1612900"/>
                  </a:lnTo>
                  <a:lnTo>
                    <a:pt x="432079" y="1612900"/>
                  </a:lnTo>
                  <a:lnTo>
                    <a:pt x="441058" y="1625600"/>
                  </a:lnTo>
                  <a:lnTo>
                    <a:pt x="488416" y="1638300"/>
                  </a:lnTo>
                  <a:lnTo>
                    <a:pt x="529386" y="1663700"/>
                  </a:lnTo>
                  <a:lnTo>
                    <a:pt x="563956" y="1689100"/>
                  </a:lnTo>
                  <a:lnTo>
                    <a:pt x="592124" y="1727200"/>
                  </a:lnTo>
                  <a:lnTo>
                    <a:pt x="608317" y="1765300"/>
                  </a:lnTo>
                  <a:lnTo>
                    <a:pt x="611606" y="1778000"/>
                  </a:lnTo>
                  <a:lnTo>
                    <a:pt x="611606" y="1690255"/>
                  </a:lnTo>
                  <a:lnTo>
                    <a:pt x="611022" y="1689100"/>
                  </a:lnTo>
                  <a:lnTo>
                    <a:pt x="604100" y="1689100"/>
                  </a:lnTo>
                  <a:lnTo>
                    <a:pt x="596696" y="1676400"/>
                  </a:lnTo>
                  <a:lnTo>
                    <a:pt x="588810" y="1663700"/>
                  </a:lnTo>
                  <a:lnTo>
                    <a:pt x="580491" y="1651000"/>
                  </a:lnTo>
                  <a:lnTo>
                    <a:pt x="571766" y="1651000"/>
                  </a:lnTo>
                  <a:lnTo>
                    <a:pt x="562635" y="1638300"/>
                  </a:lnTo>
                  <a:lnTo>
                    <a:pt x="553097" y="1638300"/>
                  </a:lnTo>
                  <a:lnTo>
                    <a:pt x="543217" y="1625600"/>
                  </a:lnTo>
                  <a:lnTo>
                    <a:pt x="533019" y="1612900"/>
                  </a:lnTo>
                  <a:lnTo>
                    <a:pt x="511695" y="1612900"/>
                  </a:lnTo>
                  <a:lnTo>
                    <a:pt x="500621" y="1600200"/>
                  </a:lnTo>
                  <a:lnTo>
                    <a:pt x="477850" y="1600200"/>
                  </a:lnTo>
                  <a:lnTo>
                    <a:pt x="466153" y="1587500"/>
                  </a:lnTo>
                  <a:lnTo>
                    <a:pt x="274396" y="1587500"/>
                  </a:lnTo>
                  <a:lnTo>
                    <a:pt x="269963" y="1600200"/>
                  </a:lnTo>
                  <a:lnTo>
                    <a:pt x="269963" y="1612900"/>
                  </a:lnTo>
                  <a:lnTo>
                    <a:pt x="272427" y="1625600"/>
                  </a:lnTo>
                  <a:lnTo>
                    <a:pt x="273685" y="1638300"/>
                  </a:lnTo>
                  <a:lnTo>
                    <a:pt x="288632" y="1689100"/>
                  </a:lnTo>
                  <a:lnTo>
                    <a:pt x="312318" y="1739900"/>
                  </a:lnTo>
                  <a:lnTo>
                    <a:pt x="344538" y="1778000"/>
                  </a:lnTo>
                  <a:lnTo>
                    <a:pt x="383794" y="1816100"/>
                  </a:lnTo>
                  <a:lnTo>
                    <a:pt x="428599" y="1828800"/>
                  </a:lnTo>
                  <a:lnTo>
                    <a:pt x="477469" y="1841500"/>
                  </a:lnTo>
                  <a:lnTo>
                    <a:pt x="496316" y="1854200"/>
                  </a:lnTo>
                  <a:lnTo>
                    <a:pt x="618070" y="1854200"/>
                  </a:lnTo>
                  <a:lnTo>
                    <a:pt x="618185" y="1905000"/>
                  </a:lnTo>
                  <a:lnTo>
                    <a:pt x="618439" y="1955800"/>
                  </a:lnTo>
                  <a:lnTo>
                    <a:pt x="618566" y="2298700"/>
                  </a:lnTo>
                  <a:lnTo>
                    <a:pt x="618070" y="2298700"/>
                  </a:lnTo>
                  <a:lnTo>
                    <a:pt x="614705" y="2296020"/>
                  </a:lnTo>
                  <a:lnTo>
                    <a:pt x="614705" y="2374188"/>
                  </a:lnTo>
                  <a:lnTo>
                    <a:pt x="551916" y="2349500"/>
                  </a:lnTo>
                  <a:lnTo>
                    <a:pt x="518680" y="2336800"/>
                  </a:lnTo>
                  <a:lnTo>
                    <a:pt x="484174" y="2324227"/>
                  </a:lnTo>
                  <a:lnTo>
                    <a:pt x="600227" y="2400300"/>
                  </a:lnTo>
                  <a:lnTo>
                    <a:pt x="521169" y="2400300"/>
                  </a:lnTo>
                  <a:lnTo>
                    <a:pt x="496150" y="2387600"/>
                  </a:lnTo>
                  <a:lnTo>
                    <a:pt x="455879" y="2374900"/>
                  </a:lnTo>
                  <a:lnTo>
                    <a:pt x="424929" y="2336800"/>
                  </a:lnTo>
                  <a:lnTo>
                    <a:pt x="403288" y="2311400"/>
                  </a:lnTo>
                  <a:lnTo>
                    <a:pt x="390969" y="2260600"/>
                  </a:lnTo>
                  <a:lnTo>
                    <a:pt x="470306" y="2260600"/>
                  </a:lnTo>
                  <a:lnTo>
                    <a:pt x="517385" y="2273300"/>
                  </a:lnTo>
                  <a:lnTo>
                    <a:pt x="559714" y="2286000"/>
                  </a:lnTo>
                  <a:lnTo>
                    <a:pt x="593509" y="2324100"/>
                  </a:lnTo>
                  <a:lnTo>
                    <a:pt x="614705" y="2374188"/>
                  </a:lnTo>
                  <a:lnTo>
                    <a:pt x="614705" y="2296020"/>
                  </a:lnTo>
                  <a:lnTo>
                    <a:pt x="568071" y="2260600"/>
                  </a:lnTo>
                  <a:lnTo>
                    <a:pt x="509117" y="2235200"/>
                  </a:lnTo>
                  <a:lnTo>
                    <a:pt x="463842" y="2222500"/>
                  </a:lnTo>
                  <a:lnTo>
                    <a:pt x="367715" y="2222500"/>
                  </a:lnTo>
                  <a:lnTo>
                    <a:pt x="361492" y="2235200"/>
                  </a:lnTo>
                  <a:lnTo>
                    <a:pt x="357873" y="2235200"/>
                  </a:lnTo>
                  <a:lnTo>
                    <a:pt x="356717" y="2247900"/>
                  </a:lnTo>
                  <a:lnTo>
                    <a:pt x="357314" y="2260600"/>
                  </a:lnTo>
                  <a:lnTo>
                    <a:pt x="359232" y="2273300"/>
                  </a:lnTo>
                  <a:lnTo>
                    <a:pt x="362483" y="2298700"/>
                  </a:lnTo>
                  <a:lnTo>
                    <a:pt x="379920" y="2336800"/>
                  </a:lnTo>
                  <a:lnTo>
                    <a:pt x="425411" y="2387600"/>
                  </a:lnTo>
                  <a:lnTo>
                    <a:pt x="457187" y="2413000"/>
                  </a:lnTo>
                  <a:lnTo>
                    <a:pt x="532409" y="2438400"/>
                  </a:lnTo>
                  <a:lnTo>
                    <a:pt x="623620" y="2438400"/>
                  </a:lnTo>
                  <a:lnTo>
                    <a:pt x="623620" y="2705100"/>
                  </a:lnTo>
                  <a:lnTo>
                    <a:pt x="621106" y="2692400"/>
                  </a:lnTo>
                  <a:lnTo>
                    <a:pt x="617461" y="2692400"/>
                  </a:lnTo>
                  <a:lnTo>
                    <a:pt x="615442" y="2690799"/>
                  </a:lnTo>
                  <a:lnTo>
                    <a:pt x="615442" y="2768181"/>
                  </a:lnTo>
                  <a:lnTo>
                    <a:pt x="551916" y="2743200"/>
                  </a:lnTo>
                  <a:lnTo>
                    <a:pt x="518680" y="2730500"/>
                  </a:lnTo>
                  <a:lnTo>
                    <a:pt x="484174" y="2717927"/>
                  </a:lnTo>
                  <a:lnTo>
                    <a:pt x="600227" y="2794000"/>
                  </a:lnTo>
                  <a:lnTo>
                    <a:pt x="521169" y="2794000"/>
                  </a:lnTo>
                  <a:lnTo>
                    <a:pt x="496150" y="2781300"/>
                  </a:lnTo>
                  <a:lnTo>
                    <a:pt x="455879" y="2768600"/>
                  </a:lnTo>
                  <a:lnTo>
                    <a:pt x="424929" y="2730500"/>
                  </a:lnTo>
                  <a:lnTo>
                    <a:pt x="403288" y="2705100"/>
                  </a:lnTo>
                  <a:lnTo>
                    <a:pt x="390969" y="2654300"/>
                  </a:lnTo>
                  <a:lnTo>
                    <a:pt x="470306" y="2654300"/>
                  </a:lnTo>
                  <a:lnTo>
                    <a:pt x="517385" y="2667000"/>
                  </a:lnTo>
                  <a:lnTo>
                    <a:pt x="559714" y="2679700"/>
                  </a:lnTo>
                  <a:lnTo>
                    <a:pt x="593509" y="2717800"/>
                  </a:lnTo>
                  <a:lnTo>
                    <a:pt x="615010" y="2755900"/>
                  </a:lnTo>
                  <a:lnTo>
                    <a:pt x="615442" y="2768181"/>
                  </a:lnTo>
                  <a:lnTo>
                    <a:pt x="615442" y="2690799"/>
                  </a:lnTo>
                  <a:lnTo>
                    <a:pt x="585622" y="2667000"/>
                  </a:lnTo>
                  <a:lnTo>
                    <a:pt x="567461" y="2654300"/>
                  </a:lnTo>
                  <a:lnTo>
                    <a:pt x="549300" y="2641600"/>
                  </a:lnTo>
                  <a:lnTo>
                    <a:pt x="508508" y="2628900"/>
                  </a:lnTo>
                  <a:lnTo>
                    <a:pt x="463245" y="2616200"/>
                  </a:lnTo>
                  <a:lnTo>
                    <a:pt x="367118" y="2616200"/>
                  </a:lnTo>
                  <a:lnTo>
                    <a:pt x="360883" y="2628900"/>
                  </a:lnTo>
                  <a:lnTo>
                    <a:pt x="357276" y="2628900"/>
                  </a:lnTo>
                  <a:lnTo>
                    <a:pt x="356108" y="2641600"/>
                  </a:lnTo>
                  <a:lnTo>
                    <a:pt x="356781" y="2654300"/>
                  </a:lnTo>
                  <a:lnTo>
                    <a:pt x="358800" y="2667000"/>
                  </a:lnTo>
                  <a:lnTo>
                    <a:pt x="362153" y="2692400"/>
                  </a:lnTo>
                  <a:lnTo>
                    <a:pt x="379920" y="2730500"/>
                  </a:lnTo>
                  <a:lnTo>
                    <a:pt x="425665" y="2781300"/>
                  </a:lnTo>
                  <a:lnTo>
                    <a:pt x="457441" y="2806700"/>
                  </a:lnTo>
                  <a:lnTo>
                    <a:pt x="532663" y="2832100"/>
                  </a:lnTo>
                  <a:lnTo>
                    <a:pt x="623570" y="2832100"/>
                  </a:lnTo>
                  <a:lnTo>
                    <a:pt x="623570" y="2908300"/>
                  </a:lnTo>
                  <a:lnTo>
                    <a:pt x="621220" y="2908300"/>
                  </a:lnTo>
                  <a:lnTo>
                    <a:pt x="621220" y="3073400"/>
                  </a:lnTo>
                  <a:lnTo>
                    <a:pt x="614908" y="3060700"/>
                  </a:lnTo>
                  <a:lnTo>
                    <a:pt x="609904" y="3051454"/>
                  </a:lnTo>
                  <a:lnTo>
                    <a:pt x="609904" y="3136900"/>
                  </a:lnTo>
                  <a:lnTo>
                    <a:pt x="511683" y="3086100"/>
                  </a:lnTo>
                  <a:lnTo>
                    <a:pt x="511975" y="3086100"/>
                  </a:lnTo>
                  <a:lnTo>
                    <a:pt x="486765" y="3073400"/>
                  </a:lnTo>
                  <a:lnTo>
                    <a:pt x="460756" y="3060700"/>
                  </a:lnTo>
                  <a:lnTo>
                    <a:pt x="433806" y="3048000"/>
                  </a:lnTo>
                  <a:lnTo>
                    <a:pt x="405739" y="3048000"/>
                  </a:lnTo>
                  <a:lnTo>
                    <a:pt x="451878" y="3073400"/>
                  </a:lnTo>
                  <a:lnTo>
                    <a:pt x="497547" y="3111500"/>
                  </a:lnTo>
                  <a:lnTo>
                    <a:pt x="541731" y="3136900"/>
                  </a:lnTo>
                  <a:lnTo>
                    <a:pt x="583399" y="3175000"/>
                  </a:lnTo>
                  <a:lnTo>
                    <a:pt x="481076" y="3175000"/>
                  </a:lnTo>
                  <a:lnTo>
                    <a:pt x="434860" y="3162300"/>
                  </a:lnTo>
                  <a:lnTo>
                    <a:pt x="394106" y="3136900"/>
                  </a:lnTo>
                  <a:lnTo>
                    <a:pt x="359676" y="3111500"/>
                  </a:lnTo>
                  <a:lnTo>
                    <a:pt x="332435" y="3073400"/>
                  </a:lnTo>
                  <a:lnTo>
                    <a:pt x="313245" y="3035300"/>
                  </a:lnTo>
                  <a:lnTo>
                    <a:pt x="302971" y="2984500"/>
                  </a:lnTo>
                  <a:lnTo>
                    <a:pt x="302171" y="2971800"/>
                  </a:lnTo>
                  <a:lnTo>
                    <a:pt x="439356" y="2971800"/>
                  </a:lnTo>
                  <a:lnTo>
                    <a:pt x="486714" y="2997200"/>
                  </a:lnTo>
                  <a:lnTo>
                    <a:pt x="527685" y="3009900"/>
                  </a:lnTo>
                  <a:lnTo>
                    <a:pt x="562241" y="3048000"/>
                  </a:lnTo>
                  <a:lnTo>
                    <a:pt x="590410" y="3086100"/>
                  </a:lnTo>
                  <a:lnTo>
                    <a:pt x="606615" y="3124200"/>
                  </a:lnTo>
                  <a:lnTo>
                    <a:pt x="609904" y="3136900"/>
                  </a:lnTo>
                  <a:lnTo>
                    <a:pt x="609904" y="3051454"/>
                  </a:lnTo>
                  <a:lnTo>
                    <a:pt x="608037" y="3048000"/>
                  </a:lnTo>
                  <a:lnTo>
                    <a:pt x="600595" y="3035300"/>
                  </a:lnTo>
                  <a:lnTo>
                    <a:pt x="592607" y="3035300"/>
                  </a:lnTo>
                  <a:lnTo>
                    <a:pt x="584098" y="3022600"/>
                  </a:lnTo>
                  <a:lnTo>
                    <a:pt x="575119" y="3009900"/>
                  </a:lnTo>
                  <a:lnTo>
                    <a:pt x="565670" y="2997200"/>
                  </a:lnTo>
                  <a:lnTo>
                    <a:pt x="555752" y="2997200"/>
                  </a:lnTo>
                  <a:lnTo>
                    <a:pt x="545414" y="2984500"/>
                  </a:lnTo>
                  <a:lnTo>
                    <a:pt x="534708" y="2984500"/>
                  </a:lnTo>
                  <a:lnTo>
                    <a:pt x="523646" y="2971800"/>
                  </a:lnTo>
                  <a:lnTo>
                    <a:pt x="512216" y="2971800"/>
                  </a:lnTo>
                  <a:lnTo>
                    <a:pt x="500494" y="2959100"/>
                  </a:lnTo>
                  <a:lnTo>
                    <a:pt x="488530" y="2959100"/>
                  </a:lnTo>
                  <a:lnTo>
                    <a:pt x="476326" y="2946400"/>
                  </a:lnTo>
                  <a:lnTo>
                    <a:pt x="272186" y="2946400"/>
                  </a:lnTo>
                  <a:lnTo>
                    <a:pt x="267754" y="2959100"/>
                  </a:lnTo>
                  <a:lnTo>
                    <a:pt x="267754" y="2971800"/>
                  </a:lnTo>
                  <a:lnTo>
                    <a:pt x="270205" y="2984500"/>
                  </a:lnTo>
                  <a:lnTo>
                    <a:pt x="271449" y="2997200"/>
                  </a:lnTo>
                  <a:lnTo>
                    <a:pt x="286448" y="3048000"/>
                  </a:lnTo>
                  <a:lnTo>
                    <a:pt x="310146" y="3098800"/>
                  </a:lnTo>
                  <a:lnTo>
                    <a:pt x="342366" y="3136900"/>
                  </a:lnTo>
                  <a:lnTo>
                    <a:pt x="381609" y="3175000"/>
                  </a:lnTo>
                  <a:lnTo>
                    <a:pt x="426415" y="3187700"/>
                  </a:lnTo>
                  <a:lnTo>
                    <a:pt x="475259" y="3200400"/>
                  </a:lnTo>
                  <a:lnTo>
                    <a:pt x="494118" y="3213100"/>
                  </a:lnTo>
                  <a:lnTo>
                    <a:pt x="616407" y="3213100"/>
                  </a:lnTo>
                  <a:lnTo>
                    <a:pt x="616407" y="3589464"/>
                  </a:lnTo>
                  <a:lnTo>
                    <a:pt x="584352" y="3589464"/>
                  </a:lnTo>
                  <a:lnTo>
                    <a:pt x="570445" y="3590734"/>
                  </a:lnTo>
                  <a:lnTo>
                    <a:pt x="529615" y="3600894"/>
                  </a:lnTo>
                  <a:lnTo>
                    <a:pt x="490715" y="3617404"/>
                  </a:lnTo>
                  <a:lnTo>
                    <a:pt x="454545" y="3638994"/>
                  </a:lnTo>
                  <a:lnTo>
                    <a:pt x="421944" y="3665664"/>
                  </a:lnTo>
                  <a:lnTo>
                    <a:pt x="412000" y="3674554"/>
                  </a:lnTo>
                  <a:lnTo>
                    <a:pt x="402564" y="3685984"/>
                  </a:lnTo>
                  <a:lnTo>
                    <a:pt x="393623" y="3696144"/>
                  </a:lnTo>
                  <a:lnTo>
                    <a:pt x="365874" y="3691064"/>
                  </a:lnTo>
                  <a:lnTo>
                    <a:pt x="356641" y="3688524"/>
                  </a:lnTo>
                  <a:lnTo>
                    <a:pt x="347357" y="3687254"/>
                  </a:lnTo>
                  <a:lnTo>
                    <a:pt x="338023" y="3687254"/>
                  </a:lnTo>
                  <a:lnTo>
                    <a:pt x="328663" y="3685984"/>
                  </a:lnTo>
                  <a:lnTo>
                    <a:pt x="318312" y="3687254"/>
                  </a:lnTo>
                  <a:lnTo>
                    <a:pt x="308038" y="3687254"/>
                  </a:lnTo>
                  <a:lnTo>
                    <a:pt x="297853" y="3689794"/>
                  </a:lnTo>
                  <a:lnTo>
                    <a:pt x="287731" y="3691064"/>
                  </a:lnTo>
                  <a:lnTo>
                    <a:pt x="277774" y="3694874"/>
                  </a:lnTo>
                  <a:lnTo>
                    <a:pt x="268058" y="3697414"/>
                  </a:lnTo>
                  <a:lnTo>
                    <a:pt x="258572" y="3701224"/>
                  </a:lnTo>
                  <a:lnTo>
                    <a:pt x="223672" y="3724084"/>
                  </a:lnTo>
                  <a:lnTo>
                    <a:pt x="195351" y="3753294"/>
                  </a:lnTo>
                  <a:lnTo>
                    <a:pt x="189522" y="3762184"/>
                  </a:lnTo>
                  <a:lnTo>
                    <a:pt x="165646" y="3795204"/>
                  </a:lnTo>
                  <a:lnTo>
                    <a:pt x="138607" y="3824414"/>
                  </a:lnTo>
                  <a:lnTo>
                    <a:pt x="108394" y="3851084"/>
                  </a:lnTo>
                  <a:lnTo>
                    <a:pt x="75018" y="3873944"/>
                  </a:lnTo>
                  <a:lnTo>
                    <a:pt x="7556" y="3915854"/>
                  </a:lnTo>
                  <a:lnTo>
                    <a:pt x="5715" y="3917124"/>
                  </a:lnTo>
                  <a:lnTo>
                    <a:pt x="0" y="3931094"/>
                  </a:lnTo>
                  <a:lnTo>
                    <a:pt x="787" y="3936174"/>
                  </a:lnTo>
                  <a:lnTo>
                    <a:pt x="3937" y="3941254"/>
                  </a:lnTo>
                  <a:lnTo>
                    <a:pt x="5422" y="3943794"/>
                  </a:lnTo>
                  <a:lnTo>
                    <a:pt x="9029" y="3946334"/>
                  </a:lnTo>
                  <a:lnTo>
                    <a:pt x="11023" y="3946334"/>
                  </a:lnTo>
                  <a:lnTo>
                    <a:pt x="15367" y="3947604"/>
                  </a:lnTo>
                  <a:lnTo>
                    <a:pt x="17576" y="3948874"/>
                  </a:lnTo>
                  <a:lnTo>
                    <a:pt x="22059" y="3947604"/>
                  </a:lnTo>
                  <a:lnTo>
                    <a:pt x="24180" y="3947604"/>
                  </a:lnTo>
                  <a:lnTo>
                    <a:pt x="26187" y="3946334"/>
                  </a:lnTo>
                  <a:lnTo>
                    <a:pt x="93700" y="3904424"/>
                  </a:lnTo>
                  <a:lnTo>
                    <a:pt x="130568" y="3879024"/>
                  </a:lnTo>
                  <a:lnTo>
                    <a:pt x="163893" y="3849814"/>
                  </a:lnTo>
                  <a:lnTo>
                    <a:pt x="193649" y="3816794"/>
                  </a:lnTo>
                  <a:lnTo>
                    <a:pt x="219875" y="3781234"/>
                  </a:lnTo>
                  <a:lnTo>
                    <a:pt x="224434" y="3773614"/>
                  </a:lnTo>
                  <a:lnTo>
                    <a:pt x="229387" y="3767264"/>
                  </a:lnTo>
                  <a:lnTo>
                    <a:pt x="234721" y="3762184"/>
                  </a:lnTo>
                  <a:lnTo>
                    <a:pt x="240461" y="3755834"/>
                  </a:lnTo>
                  <a:lnTo>
                    <a:pt x="246532" y="3750754"/>
                  </a:lnTo>
                  <a:lnTo>
                    <a:pt x="252907" y="3745674"/>
                  </a:lnTo>
                  <a:lnTo>
                    <a:pt x="259575" y="3741864"/>
                  </a:lnTo>
                  <a:lnTo>
                    <a:pt x="266547" y="3736784"/>
                  </a:lnTo>
                  <a:lnTo>
                    <a:pt x="273761" y="3734244"/>
                  </a:lnTo>
                  <a:lnTo>
                    <a:pt x="281152" y="3730434"/>
                  </a:lnTo>
                  <a:lnTo>
                    <a:pt x="296494" y="3725354"/>
                  </a:lnTo>
                  <a:lnTo>
                    <a:pt x="320344" y="3721544"/>
                  </a:lnTo>
                  <a:lnTo>
                    <a:pt x="336346" y="3721544"/>
                  </a:lnTo>
                  <a:lnTo>
                    <a:pt x="594817" y="3772344"/>
                  </a:lnTo>
                  <a:lnTo>
                    <a:pt x="621131" y="3801554"/>
                  </a:lnTo>
                  <a:lnTo>
                    <a:pt x="621017" y="3807904"/>
                  </a:lnTo>
                  <a:lnTo>
                    <a:pt x="590372" y="3837114"/>
                  </a:lnTo>
                  <a:lnTo>
                    <a:pt x="582650" y="3837114"/>
                  </a:lnTo>
                  <a:lnTo>
                    <a:pt x="459486" y="3816794"/>
                  </a:lnTo>
                  <a:lnTo>
                    <a:pt x="455295" y="3815524"/>
                  </a:lnTo>
                  <a:lnTo>
                    <a:pt x="442518" y="3815524"/>
                  </a:lnTo>
                  <a:lnTo>
                    <a:pt x="438302" y="3816794"/>
                  </a:lnTo>
                  <a:lnTo>
                    <a:pt x="429945" y="3818064"/>
                  </a:lnTo>
                  <a:lnTo>
                    <a:pt x="425894" y="3819334"/>
                  </a:lnTo>
                  <a:lnTo>
                    <a:pt x="418058" y="3823144"/>
                  </a:lnTo>
                  <a:lnTo>
                    <a:pt x="414350" y="3824414"/>
                  </a:lnTo>
                  <a:lnTo>
                    <a:pt x="407339" y="3829494"/>
                  </a:lnTo>
                  <a:lnTo>
                    <a:pt x="386105" y="3861244"/>
                  </a:lnTo>
                  <a:lnTo>
                    <a:pt x="383336" y="3877754"/>
                  </a:lnTo>
                  <a:lnTo>
                    <a:pt x="383641" y="3886644"/>
                  </a:lnTo>
                  <a:lnTo>
                    <a:pt x="398449" y="3920934"/>
                  </a:lnTo>
                  <a:lnTo>
                    <a:pt x="401294" y="3924744"/>
                  </a:lnTo>
                  <a:lnTo>
                    <a:pt x="434416" y="3942524"/>
                  </a:lnTo>
                  <a:lnTo>
                    <a:pt x="438658" y="3942524"/>
                  </a:lnTo>
                  <a:lnTo>
                    <a:pt x="655383" y="3980624"/>
                  </a:lnTo>
                  <a:lnTo>
                    <a:pt x="673125" y="3981894"/>
                  </a:lnTo>
                  <a:lnTo>
                    <a:pt x="690372" y="3980624"/>
                  </a:lnTo>
                  <a:lnTo>
                    <a:pt x="707110" y="3975544"/>
                  </a:lnTo>
                  <a:lnTo>
                    <a:pt x="723341" y="3969194"/>
                  </a:lnTo>
                  <a:lnTo>
                    <a:pt x="766597" y="3945064"/>
                  </a:lnTo>
                  <a:lnTo>
                    <a:pt x="944181" y="3846004"/>
                  </a:lnTo>
                  <a:lnTo>
                    <a:pt x="948867" y="3843464"/>
                  </a:lnTo>
                  <a:lnTo>
                    <a:pt x="953935" y="3842194"/>
                  </a:lnTo>
                  <a:lnTo>
                    <a:pt x="964768" y="3839654"/>
                  </a:lnTo>
                  <a:lnTo>
                    <a:pt x="970140" y="3839654"/>
                  </a:lnTo>
                  <a:lnTo>
                    <a:pt x="980782" y="3843464"/>
                  </a:lnTo>
                  <a:lnTo>
                    <a:pt x="985647" y="3844734"/>
                  </a:lnTo>
                  <a:lnTo>
                    <a:pt x="1007173" y="3880294"/>
                  </a:lnTo>
                  <a:lnTo>
                    <a:pt x="1006919" y="3886644"/>
                  </a:lnTo>
                  <a:lnTo>
                    <a:pt x="986802" y="3917124"/>
                  </a:lnTo>
                  <a:lnTo>
                    <a:pt x="700659" y="4097464"/>
                  </a:lnTo>
                  <a:lnTo>
                    <a:pt x="659980" y="4113974"/>
                  </a:lnTo>
                  <a:lnTo>
                    <a:pt x="638098" y="4116514"/>
                  </a:lnTo>
                  <a:lnTo>
                    <a:pt x="627113" y="4116514"/>
                  </a:lnTo>
                  <a:lnTo>
                    <a:pt x="616115" y="4115244"/>
                  </a:lnTo>
                  <a:lnTo>
                    <a:pt x="506247" y="4098734"/>
                  </a:lnTo>
                  <a:lnTo>
                    <a:pt x="269951" y="4063174"/>
                  </a:lnTo>
                  <a:lnTo>
                    <a:pt x="253784" y="4063174"/>
                  </a:lnTo>
                  <a:lnTo>
                    <a:pt x="245745" y="4065714"/>
                  </a:lnTo>
                  <a:lnTo>
                    <a:pt x="237858" y="4066984"/>
                  </a:lnTo>
                  <a:lnTo>
                    <a:pt x="230251" y="4069524"/>
                  </a:lnTo>
                  <a:lnTo>
                    <a:pt x="222935" y="4073334"/>
                  </a:lnTo>
                  <a:lnTo>
                    <a:pt x="215912" y="4077144"/>
                  </a:lnTo>
                  <a:lnTo>
                    <a:pt x="102666" y="4152074"/>
                  </a:lnTo>
                  <a:lnTo>
                    <a:pt x="100711" y="4153344"/>
                  </a:lnTo>
                  <a:lnTo>
                    <a:pt x="94615" y="4168584"/>
                  </a:lnTo>
                  <a:lnTo>
                    <a:pt x="95504" y="4172394"/>
                  </a:lnTo>
                  <a:lnTo>
                    <a:pt x="96367" y="4174934"/>
                  </a:lnTo>
                  <a:lnTo>
                    <a:pt x="97663" y="4177474"/>
                  </a:lnTo>
                  <a:lnTo>
                    <a:pt x="101231" y="4182554"/>
                  </a:lnTo>
                  <a:lnTo>
                    <a:pt x="106248" y="4185094"/>
                  </a:lnTo>
                  <a:lnTo>
                    <a:pt x="116306" y="4185094"/>
                  </a:lnTo>
                  <a:lnTo>
                    <a:pt x="119646" y="4183824"/>
                  </a:lnTo>
                  <a:lnTo>
                    <a:pt x="122707" y="4181284"/>
                  </a:lnTo>
                  <a:lnTo>
                    <a:pt x="236105" y="4107624"/>
                  </a:lnTo>
                  <a:lnTo>
                    <a:pt x="244856" y="4102544"/>
                  </a:lnTo>
                  <a:lnTo>
                    <a:pt x="254000" y="4100004"/>
                  </a:lnTo>
                  <a:lnTo>
                    <a:pt x="263537" y="4098734"/>
                  </a:lnTo>
                  <a:lnTo>
                    <a:pt x="273469" y="4098734"/>
                  </a:lnTo>
                  <a:lnTo>
                    <a:pt x="611352" y="4150804"/>
                  </a:lnTo>
                  <a:lnTo>
                    <a:pt x="625538" y="4152074"/>
                  </a:lnTo>
                  <a:lnTo>
                    <a:pt x="639699" y="4152074"/>
                  </a:lnTo>
                  <a:lnTo>
                    <a:pt x="653821" y="4150804"/>
                  </a:lnTo>
                  <a:lnTo>
                    <a:pt x="695083" y="4140644"/>
                  </a:lnTo>
                  <a:lnTo>
                    <a:pt x="738339" y="4116514"/>
                  </a:lnTo>
                  <a:lnTo>
                    <a:pt x="1006335" y="3946334"/>
                  </a:lnTo>
                  <a:lnTo>
                    <a:pt x="1033284" y="3917124"/>
                  </a:lnTo>
                  <a:lnTo>
                    <a:pt x="1041666" y="3889184"/>
                  </a:lnTo>
                  <a:lnTo>
                    <a:pt x="1041793" y="3877754"/>
                  </a:lnTo>
                  <a:close/>
                </a:path>
              </a:pathLst>
            </a:custGeom>
            <a:solidFill>
              <a:srgbClr val="F73A4A"/>
            </a:solidFill>
          </p:spPr>
          <p:txBody>
            <a:bodyPr wrap="square" lIns="0" tIns="0" rIns="0" bIns="0" rtlCol="0"/>
            <a:lstStyle/>
            <a:p>
              <a:endParaRPr sz="2118"/>
            </a:p>
          </p:txBody>
        </p:sp>
        <p:sp>
          <p:nvSpPr>
            <p:cNvPr id="130" name="object 130"/>
            <p:cNvSpPr/>
            <p:nvPr/>
          </p:nvSpPr>
          <p:spPr>
            <a:xfrm>
              <a:off x="1446936" y="3284499"/>
              <a:ext cx="7206615" cy="471805"/>
            </a:xfrm>
            <a:custGeom>
              <a:avLst/>
              <a:gdLst/>
              <a:ahLst/>
              <a:cxnLst/>
              <a:rect l="l" t="t" r="r" b="b"/>
              <a:pathLst>
                <a:path w="7206615" h="471804">
                  <a:moveTo>
                    <a:pt x="4051" y="127215"/>
                  </a:moveTo>
                  <a:lnTo>
                    <a:pt x="2298" y="127215"/>
                  </a:lnTo>
                  <a:lnTo>
                    <a:pt x="0" y="163931"/>
                  </a:lnTo>
                  <a:lnTo>
                    <a:pt x="1447" y="154800"/>
                  </a:lnTo>
                  <a:lnTo>
                    <a:pt x="2616" y="145630"/>
                  </a:lnTo>
                  <a:lnTo>
                    <a:pt x="3479" y="136436"/>
                  </a:lnTo>
                  <a:lnTo>
                    <a:pt x="4051" y="127215"/>
                  </a:lnTo>
                  <a:close/>
                </a:path>
                <a:path w="7206615" h="471804">
                  <a:moveTo>
                    <a:pt x="6684340" y="315391"/>
                  </a:moveTo>
                  <a:lnTo>
                    <a:pt x="6662445" y="315391"/>
                  </a:lnTo>
                  <a:lnTo>
                    <a:pt x="6662445" y="471055"/>
                  </a:lnTo>
                  <a:lnTo>
                    <a:pt x="6684340" y="471055"/>
                  </a:lnTo>
                  <a:lnTo>
                    <a:pt x="6684340" y="315391"/>
                  </a:lnTo>
                  <a:close/>
                </a:path>
                <a:path w="7206615" h="471804">
                  <a:moveTo>
                    <a:pt x="6684340" y="134632"/>
                  </a:moveTo>
                  <a:lnTo>
                    <a:pt x="6662445" y="134632"/>
                  </a:lnTo>
                  <a:lnTo>
                    <a:pt x="6662445" y="159067"/>
                  </a:lnTo>
                  <a:lnTo>
                    <a:pt x="6684340" y="159067"/>
                  </a:lnTo>
                  <a:lnTo>
                    <a:pt x="6684340" y="134632"/>
                  </a:lnTo>
                  <a:close/>
                </a:path>
                <a:path w="7206615" h="471804">
                  <a:moveTo>
                    <a:pt x="6724256" y="89649"/>
                  </a:moveTo>
                  <a:lnTo>
                    <a:pt x="6624726" y="89662"/>
                  </a:lnTo>
                  <a:lnTo>
                    <a:pt x="6588582" y="103378"/>
                  </a:lnTo>
                  <a:lnTo>
                    <a:pt x="6566128" y="134861"/>
                  </a:lnTo>
                  <a:lnTo>
                    <a:pt x="6562776" y="151904"/>
                  </a:lnTo>
                  <a:lnTo>
                    <a:pt x="6562776" y="296964"/>
                  </a:lnTo>
                  <a:lnTo>
                    <a:pt x="6607111" y="296964"/>
                  </a:lnTo>
                  <a:lnTo>
                    <a:pt x="6607111" y="471258"/>
                  </a:lnTo>
                  <a:lnTo>
                    <a:pt x="6629197" y="471258"/>
                  </a:lnTo>
                  <a:lnTo>
                    <a:pt x="6629197" y="274967"/>
                  </a:lnTo>
                  <a:lnTo>
                    <a:pt x="6584861" y="274967"/>
                  </a:lnTo>
                  <a:lnTo>
                    <a:pt x="6584861" y="156260"/>
                  </a:lnTo>
                  <a:lnTo>
                    <a:pt x="6604521" y="118986"/>
                  </a:lnTo>
                  <a:lnTo>
                    <a:pt x="6629095" y="111633"/>
                  </a:lnTo>
                  <a:lnTo>
                    <a:pt x="6724256" y="111633"/>
                  </a:lnTo>
                  <a:lnTo>
                    <a:pt x="6724256" y="89649"/>
                  </a:lnTo>
                  <a:close/>
                </a:path>
                <a:path w="7206615" h="471804">
                  <a:moveTo>
                    <a:pt x="6773088" y="274523"/>
                  </a:moveTo>
                  <a:lnTo>
                    <a:pt x="6717843" y="274523"/>
                  </a:lnTo>
                  <a:lnTo>
                    <a:pt x="6717843" y="297383"/>
                  </a:lnTo>
                  <a:lnTo>
                    <a:pt x="6717843" y="471373"/>
                  </a:lnTo>
                  <a:lnTo>
                    <a:pt x="6739737" y="471373"/>
                  </a:lnTo>
                  <a:lnTo>
                    <a:pt x="6739737" y="297383"/>
                  </a:lnTo>
                  <a:lnTo>
                    <a:pt x="6773088" y="297383"/>
                  </a:lnTo>
                  <a:lnTo>
                    <a:pt x="6773088" y="274523"/>
                  </a:lnTo>
                  <a:close/>
                </a:path>
                <a:path w="7206615" h="471804">
                  <a:moveTo>
                    <a:pt x="6895554" y="277876"/>
                  </a:moveTo>
                  <a:lnTo>
                    <a:pt x="6873672" y="277876"/>
                  </a:lnTo>
                  <a:lnTo>
                    <a:pt x="6873672" y="471055"/>
                  </a:lnTo>
                  <a:lnTo>
                    <a:pt x="6895554" y="471055"/>
                  </a:lnTo>
                  <a:lnTo>
                    <a:pt x="6895554" y="277876"/>
                  </a:lnTo>
                  <a:close/>
                </a:path>
                <a:path w="7206615" h="471804">
                  <a:moveTo>
                    <a:pt x="6895554" y="138137"/>
                  </a:moveTo>
                  <a:lnTo>
                    <a:pt x="6873672" y="138137"/>
                  </a:lnTo>
                  <a:lnTo>
                    <a:pt x="6873672" y="162521"/>
                  </a:lnTo>
                  <a:lnTo>
                    <a:pt x="6895554" y="162521"/>
                  </a:lnTo>
                  <a:lnTo>
                    <a:pt x="6895554" y="138137"/>
                  </a:lnTo>
                  <a:close/>
                </a:path>
                <a:path w="7206615" h="471804">
                  <a:moveTo>
                    <a:pt x="6895554" y="89344"/>
                  </a:moveTo>
                  <a:lnTo>
                    <a:pt x="6873672" y="89344"/>
                  </a:lnTo>
                  <a:lnTo>
                    <a:pt x="6873672" y="113792"/>
                  </a:lnTo>
                  <a:lnTo>
                    <a:pt x="6895554" y="113792"/>
                  </a:lnTo>
                  <a:lnTo>
                    <a:pt x="6895554" y="89344"/>
                  </a:lnTo>
                  <a:close/>
                </a:path>
                <a:path w="7206615" h="471804">
                  <a:moveTo>
                    <a:pt x="7019290" y="74879"/>
                  </a:moveTo>
                  <a:lnTo>
                    <a:pt x="7003047" y="31305"/>
                  </a:lnTo>
                  <a:lnTo>
                    <a:pt x="6965315" y="4127"/>
                  </a:lnTo>
                  <a:lnTo>
                    <a:pt x="6944830" y="0"/>
                  </a:lnTo>
                  <a:lnTo>
                    <a:pt x="6923849" y="0"/>
                  </a:lnTo>
                  <a:lnTo>
                    <a:pt x="6884632" y="39560"/>
                  </a:lnTo>
                  <a:lnTo>
                    <a:pt x="6845363" y="139"/>
                  </a:lnTo>
                  <a:lnTo>
                    <a:pt x="6803809" y="4279"/>
                  </a:lnTo>
                  <a:lnTo>
                    <a:pt x="6769392" y="27406"/>
                  </a:lnTo>
                  <a:lnTo>
                    <a:pt x="6750367" y="69837"/>
                  </a:lnTo>
                  <a:lnTo>
                    <a:pt x="6749885" y="75031"/>
                  </a:lnTo>
                  <a:lnTo>
                    <a:pt x="6749897" y="252234"/>
                  </a:lnTo>
                  <a:lnTo>
                    <a:pt x="6805003" y="252234"/>
                  </a:lnTo>
                  <a:lnTo>
                    <a:pt x="6805003" y="471208"/>
                  </a:lnTo>
                  <a:lnTo>
                    <a:pt x="6826885" y="471208"/>
                  </a:lnTo>
                  <a:lnTo>
                    <a:pt x="6826885" y="204304"/>
                  </a:lnTo>
                  <a:lnTo>
                    <a:pt x="6805003" y="204304"/>
                  </a:lnTo>
                  <a:lnTo>
                    <a:pt x="6805003" y="229895"/>
                  </a:lnTo>
                  <a:lnTo>
                    <a:pt x="6771945" y="229895"/>
                  </a:lnTo>
                  <a:lnTo>
                    <a:pt x="6771945" y="80137"/>
                  </a:lnTo>
                  <a:lnTo>
                    <a:pt x="6772973" y="68567"/>
                  </a:lnTo>
                  <a:lnTo>
                    <a:pt x="6797700" y="31661"/>
                  </a:lnTo>
                  <a:lnTo>
                    <a:pt x="6829692" y="22136"/>
                  </a:lnTo>
                  <a:lnTo>
                    <a:pt x="6836359" y="22136"/>
                  </a:lnTo>
                  <a:lnTo>
                    <a:pt x="6884683" y="70612"/>
                  </a:lnTo>
                  <a:lnTo>
                    <a:pt x="6932968" y="22136"/>
                  </a:lnTo>
                  <a:lnTo>
                    <a:pt x="6943534" y="22136"/>
                  </a:lnTo>
                  <a:lnTo>
                    <a:pt x="6947294" y="22517"/>
                  </a:lnTo>
                  <a:lnTo>
                    <a:pt x="6983323" y="41859"/>
                  </a:lnTo>
                  <a:lnTo>
                    <a:pt x="6997535" y="76327"/>
                  </a:lnTo>
                  <a:lnTo>
                    <a:pt x="6997535" y="229895"/>
                  </a:lnTo>
                  <a:lnTo>
                    <a:pt x="6964426" y="229895"/>
                  </a:lnTo>
                  <a:lnTo>
                    <a:pt x="6964426" y="204101"/>
                  </a:lnTo>
                  <a:lnTo>
                    <a:pt x="6942544" y="204101"/>
                  </a:lnTo>
                  <a:lnTo>
                    <a:pt x="6942544" y="470865"/>
                  </a:lnTo>
                  <a:lnTo>
                    <a:pt x="6964426" y="470865"/>
                  </a:lnTo>
                  <a:lnTo>
                    <a:pt x="6964426" y="252082"/>
                  </a:lnTo>
                  <a:lnTo>
                    <a:pt x="7019264" y="252082"/>
                  </a:lnTo>
                  <a:lnTo>
                    <a:pt x="7019290" y="74879"/>
                  </a:lnTo>
                  <a:close/>
                </a:path>
                <a:path w="7206615" h="471804">
                  <a:moveTo>
                    <a:pt x="7051370" y="274523"/>
                  </a:moveTo>
                  <a:lnTo>
                    <a:pt x="6996125" y="274523"/>
                  </a:lnTo>
                  <a:lnTo>
                    <a:pt x="6996125" y="297383"/>
                  </a:lnTo>
                  <a:lnTo>
                    <a:pt x="7029488" y="297383"/>
                  </a:lnTo>
                  <a:lnTo>
                    <a:pt x="7029488" y="471373"/>
                  </a:lnTo>
                  <a:lnTo>
                    <a:pt x="7051370" y="471373"/>
                  </a:lnTo>
                  <a:lnTo>
                    <a:pt x="7051370" y="297383"/>
                  </a:lnTo>
                  <a:lnTo>
                    <a:pt x="7051370" y="274523"/>
                  </a:lnTo>
                  <a:close/>
                </a:path>
                <a:path w="7206615" h="471804">
                  <a:moveTo>
                    <a:pt x="7106767" y="315391"/>
                  </a:moveTo>
                  <a:lnTo>
                    <a:pt x="7084885" y="315391"/>
                  </a:lnTo>
                  <a:lnTo>
                    <a:pt x="7084885" y="471055"/>
                  </a:lnTo>
                  <a:lnTo>
                    <a:pt x="7106767" y="471055"/>
                  </a:lnTo>
                  <a:lnTo>
                    <a:pt x="7106767" y="315391"/>
                  </a:lnTo>
                  <a:close/>
                </a:path>
                <a:path w="7206615" h="471804">
                  <a:moveTo>
                    <a:pt x="7106767" y="134632"/>
                  </a:moveTo>
                  <a:lnTo>
                    <a:pt x="7084885" y="134632"/>
                  </a:lnTo>
                  <a:lnTo>
                    <a:pt x="7084885" y="159067"/>
                  </a:lnTo>
                  <a:lnTo>
                    <a:pt x="7106767" y="159067"/>
                  </a:lnTo>
                  <a:lnTo>
                    <a:pt x="7106767" y="134632"/>
                  </a:lnTo>
                  <a:close/>
                </a:path>
                <a:path w="7206615" h="471804">
                  <a:moveTo>
                    <a:pt x="7206297" y="156070"/>
                  </a:moveTo>
                  <a:lnTo>
                    <a:pt x="7195261" y="119075"/>
                  </a:lnTo>
                  <a:lnTo>
                    <a:pt x="7165492" y="94602"/>
                  </a:lnTo>
                  <a:lnTo>
                    <a:pt x="7140080" y="89649"/>
                  </a:lnTo>
                  <a:lnTo>
                    <a:pt x="7044918" y="89649"/>
                  </a:lnTo>
                  <a:lnTo>
                    <a:pt x="7044918" y="111582"/>
                  </a:lnTo>
                  <a:lnTo>
                    <a:pt x="7145985" y="111594"/>
                  </a:lnTo>
                  <a:lnTo>
                    <a:pt x="7151662" y="112737"/>
                  </a:lnTo>
                  <a:lnTo>
                    <a:pt x="7183399" y="144627"/>
                  </a:lnTo>
                  <a:lnTo>
                    <a:pt x="7184517" y="150304"/>
                  </a:lnTo>
                  <a:lnTo>
                    <a:pt x="7184504" y="274967"/>
                  </a:lnTo>
                  <a:lnTo>
                    <a:pt x="7140080" y="274967"/>
                  </a:lnTo>
                  <a:lnTo>
                    <a:pt x="7140080" y="471258"/>
                  </a:lnTo>
                  <a:lnTo>
                    <a:pt x="7161974" y="471258"/>
                  </a:lnTo>
                  <a:lnTo>
                    <a:pt x="7161974" y="296964"/>
                  </a:lnTo>
                  <a:lnTo>
                    <a:pt x="7206297" y="296964"/>
                  </a:lnTo>
                  <a:lnTo>
                    <a:pt x="7206297" y="156070"/>
                  </a:lnTo>
                  <a:close/>
                </a:path>
              </a:pathLst>
            </a:custGeom>
            <a:solidFill>
              <a:srgbClr val="F72E40"/>
            </a:solidFill>
          </p:spPr>
          <p:txBody>
            <a:bodyPr wrap="square" lIns="0" tIns="0" rIns="0" bIns="0" rtlCol="0"/>
            <a:lstStyle/>
            <a:p>
              <a:endParaRPr sz="2118"/>
            </a:p>
          </p:txBody>
        </p:sp>
        <p:pic>
          <p:nvPicPr>
            <p:cNvPr id="131" name="object 131"/>
            <p:cNvPicPr/>
            <p:nvPr/>
          </p:nvPicPr>
          <p:blipFill>
            <a:blip r:embed="rId70" cstate="print"/>
            <a:stretch>
              <a:fillRect/>
            </a:stretch>
          </p:blipFill>
          <p:spPr>
            <a:xfrm>
              <a:off x="8272419" y="3129141"/>
              <a:ext cx="125125" cy="150136"/>
            </a:xfrm>
            <a:prstGeom prst="rect">
              <a:avLst/>
            </a:prstGeom>
          </p:spPr>
        </p:pic>
        <p:pic>
          <p:nvPicPr>
            <p:cNvPr id="132" name="object 132"/>
            <p:cNvPicPr/>
            <p:nvPr/>
          </p:nvPicPr>
          <p:blipFill>
            <a:blip r:embed="rId71" cstate="print"/>
            <a:stretch>
              <a:fillRect/>
            </a:stretch>
          </p:blipFill>
          <p:spPr>
            <a:xfrm>
              <a:off x="8067438" y="3221578"/>
              <a:ext cx="115233" cy="133681"/>
            </a:xfrm>
            <a:prstGeom prst="rect">
              <a:avLst/>
            </a:prstGeom>
          </p:spPr>
        </p:pic>
        <p:pic>
          <p:nvPicPr>
            <p:cNvPr id="133" name="object 133"/>
            <p:cNvPicPr/>
            <p:nvPr/>
          </p:nvPicPr>
          <p:blipFill>
            <a:blip r:embed="rId72" cstate="print"/>
            <a:stretch>
              <a:fillRect/>
            </a:stretch>
          </p:blipFill>
          <p:spPr>
            <a:xfrm>
              <a:off x="8491640" y="3225084"/>
              <a:ext cx="115066" cy="133932"/>
            </a:xfrm>
            <a:prstGeom prst="rect">
              <a:avLst/>
            </a:prstGeom>
          </p:spPr>
        </p:pic>
        <p:sp>
          <p:nvSpPr>
            <p:cNvPr id="134" name="object 134"/>
            <p:cNvSpPr/>
            <p:nvPr/>
          </p:nvSpPr>
          <p:spPr>
            <a:xfrm>
              <a:off x="6684505" y="3283140"/>
              <a:ext cx="643890" cy="471805"/>
            </a:xfrm>
            <a:custGeom>
              <a:avLst/>
              <a:gdLst/>
              <a:ahLst/>
              <a:cxnLst/>
              <a:rect l="l" t="t" r="r" b="b"/>
              <a:pathLst>
                <a:path w="643890" h="471804">
                  <a:moveTo>
                    <a:pt x="121577" y="315391"/>
                  </a:moveTo>
                  <a:lnTo>
                    <a:pt x="99682" y="315391"/>
                  </a:lnTo>
                  <a:lnTo>
                    <a:pt x="99682" y="471068"/>
                  </a:lnTo>
                  <a:lnTo>
                    <a:pt x="121577" y="471068"/>
                  </a:lnTo>
                  <a:lnTo>
                    <a:pt x="121577" y="315391"/>
                  </a:lnTo>
                  <a:close/>
                </a:path>
                <a:path w="643890" h="471804">
                  <a:moveTo>
                    <a:pt x="121577" y="134632"/>
                  </a:moveTo>
                  <a:lnTo>
                    <a:pt x="99682" y="134632"/>
                  </a:lnTo>
                  <a:lnTo>
                    <a:pt x="99682" y="159080"/>
                  </a:lnTo>
                  <a:lnTo>
                    <a:pt x="121577" y="159080"/>
                  </a:lnTo>
                  <a:lnTo>
                    <a:pt x="121577" y="134632"/>
                  </a:lnTo>
                  <a:close/>
                </a:path>
                <a:path w="643890" h="471804">
                  <a:moveTo>
                    <a:pt x="161493" y="89458"/>
                  </a:moveTo>
                  <a:lnTo>
                    <a:pt x="61963" y="89471"/>
                  </a:lnTo>
                  <a:lnTo>
                    <a:pt x="25793" y="103200"/>
                  </a:lnTo>
                  <a:lnTo>
                    <a:pt x="3352" y="134708"/>
                  </a:lnTo>
                  <a:lnTo>
                    <a:pt x="0" y="151752"/>
                  </a:lnTo>
                  <a:lnTo>
                    <a:pt x="12" y="296811"/>
                  </a:lnTo>
                  <a:lnTo>
                    <a:pt x="44284" y="296811"/>
                  </a:lnTo>
                  <a:lnTo>
                    <a:pt x="44284" y="471170"/>
                  </a:lnTo>
                  <a:lnTo>
                    <a:pt x="66179" y="471170"/>
                  </a:lnTo>
                  <a:lnTo>
                    <a:pt x="66179" y="274777"/>
                  </a:lnTo>
                  <a:lnTo>
                    <a:pt x="21894" y="274777"/>
                  </a:lnTo>
                  <a:lnTo>
                    <a:pt x="21894" y="156121"/>
                  </a:lnTo>
                  <a:lnTo>
                    <a:pt x="41706" y="118783"/>
                  </a:lnTo>
                  <a:lnTo>
                    <a:pt x="66332" y="111442"/>
                  </a:lnTo>
                  <a:lnTo>
                    <a:pt x="161493" y="111442"/>
                  </a:lnTo>
                  <a:lnTo>
                    <a:pt x="161493" y="89458"/>
                  </a:lnTo>
                  <a:close/>
                </a:path>
                <a:path w="643890" h="471804">
                  <a:moveTo>
                    <a:pt x="210273" y="274612"/>
                  </a:moveTo>
                  <a:lnTo>
                    <a:pt x="155028" y="274612"/>
                  </a:lnTo>
                  <a:lnTo>
                    <a:pt x="155028" y="296202"/>
                  </a:lnTo>
                  <a:lnTo>
                    <a:pt x="155028" y="471462"/>
                  </a:lnTo>
                  <a:lnTo>
                    <a:pt x="176923" y="471462"/>
                  </a:lnTo>
                  <a:lnTo>
                    <a:pt x="176923" y="296202"/>
                  </a:lnTo>
                  <a:lnTo>
                    <a:pt x="210273" y="296202"/>
                  </a:lnTo>
                  <a:lnTo>
                    <a:pt x="210273" y="274612"/>
                  </a:lnTo>
                  <a:close/>
                </a:path>
                <a:path w="643890" h="471804">
                  <a:moveTo>
                    <a:pt x="332740" y="277888"/>
                  </a:moveTo>
                  <a:lnTo>
                    <a:pt x="310845" y="277888"/>
                  </a:lnTo>
                  <a:lnTo>
                    <a:pt x="310845" y="471068"/>
                  </a:lnTo>
                  <a:lnTo>
                    <a:pt x="332740" y="471068"/>
                  </a:lnTo>
                  <a:lnTo>
                    <a:pt x="332740" y="277888"/>
                  </a:lnTo>
                  <a:close/>
                </a:path>
                <a:path w="643890" h="471804">
                  <a:moveTo>
                    <a:pt x="332740" y="138137"/>
                  </a:moveTo>
                  <a:lnTo>
                    <a:pt x="310845" y="138137"/>
                  </a:lnTo>
                  <a:lnTo>
                    <a:pt x="310845" y="162534"/>
                  </a:lnTo>
                  <a:lnTo>
                    <a:pt x="332740" y="162534"/>
                  </a:lnTo>
                  <a:lnTo>
                    <a:pt x="332740" y="138137"/>
                  </a:lnTo>
                  <a:close/>
                </a:path>
                <a:path w="643890" h="471804">
                  <a:moveTo>
                    <a:pt x="332740" y="89306"/>
                  </a:moveTo>
                  <a:lnTo>
                    <a:pt x="310845" y="89306"/>
                  </a:lnTo>
                  <a:lnTo>
                    <a:pt x="310845" y="113753"/>
                  </a:lnTo>
                  <a:lnTo>
                    <a:pt x="332740" y="113753"/>
                  </a:lnTo>
                  <a:lnTo>
                    <a:pt x="332740" y="89306"/>
                  </a:lnTo>
                  <a:close/>
                </a:path>
                <a:path w="643890" h="471804">
                  <a:moveTo>
                    <a:pt x="456476" y="74891"/>
                  </a:moveTo>
                  <a:lnTo>
                    <a:pt x="440232" y="31318"/>
                  </a:lnTo>
                  <a:lnTo>
                    <a:pt x="402501" y="4127"/>
                  </a:lnTo>
                  <a:lnTo>
                    <a:pt x="361035" y="0"/>
                  </a:lnTo>
                  <a:lnTo>
                    <a:pt x="321818" y="39420"/>
                  </a:lnTo>
                  <a:lnTo>
                    <a:pt x="282549" y="0"/>
                  </a:lnTo>
                  <a:lnTo>
                    <a:pt x="241109" y="4140"/>
                  </a:lnTo>
                  <a:lnTo>
                    <a:pt x="206692" y="27279"/>
                  </a:lnTo>
                  <a:lnTo>
                    <a:pt x="187655" y="69697"/>
                  </a:lnTo>
                  <a:lnTo>
                    <a:pt x="187172" y="74891"/>
                  </a:lnTo>
                  <a:lnTo>
                    <a:pt x="187185" y="252082"/>
                  </a:lnTo>
                  <a:lnTo>
                    <a:pt x="242277" y="252082"/>
                  </a:lnTo>
                  <a:lnTo>
                    <a:pt x="242277" y="471068"/>
                  </a:lnTo>
                  <a:lnTo>
                    <a:pt x="264172" y="471068"/>
                  </a:lnTo>
                  <a:lnTo>
                    <a:pt x="264172" y="204304"/>
                  </a:lnTo>
                  <a:lnTo>
                    <a:pt x="242277" y="204304"/>
                  </a:lnTo>
                  <a:lnTo>
                    <a:pt x="242277" y="230098"/>
                  </a:lnTo>
                  <a:lnTo>
                    <a:pt x="209169" y="230098"/>
                  </a:lnTo>
                  <a:lnTo>
                    <a:pt x="209169" y="80137"/>
                  </a:lnTo>
                  <a:lnTo>
                    <a:pt x="210197" y="68567"/>
                  </a:lnTo>
                  <a:lnTo>
                    <a:pt x="234975" y="31661"/>
                  </a:lnTo>
                  <a:lnTo>
                    <a:pt x="266928" y="22136"/>
                  </a:lnTo>
                  <a:lnTo>
                    <a:pt x="273634" y="22136"/>
                  </a:lnTo>
                  <a:lnTo>
                    <a:pt x="321919" y="70624"/>
                  </a:lnTo>
                  <a:lnTo>
                    <a:pt x="370205" y="22136"/>
                  </a:lnTo>
                  <a:lnTo>
                    <a:pt x="412178" y="34074"/>
                  </a:lnTo>
                  <a:lnTo>
                    <a:pt x="434301" y="72567"/>
                  </a:lnTo>
                  <a:lnTo>
                    <a:pt x="434670" y="76339"/>
                  </a:lnTo>
                  <a:lnTo>
                    <a:pt x="434670" y="230098"/>
                  </a:lnTo>
                  <a:lnTo>
                    <a:pt x="401561" y="230098"/>
                  </a:lnTo>
                  <a:lnTo>
                    <a:pt x="401561" y="204304"/>
                  </a:lnTo>
                  <a:lnTo>
                    <a:pt x="379666" y="204304"/>
                  </a:lnTo>
                  <a:lnTo>
                    <a:pt x="379666" y="471068"/>
                  </a:lnTo>
                  <a:lnTo>
                    <a:pt x="401561" y="471068"/>
                  </a:lnTo>
                  <a:lnTo>
                    <a:pt x="401561" y="252082"/>
                  </a:lnTo>
                  <a:lnTo>
                    <a:pt x="456450" y="252082"/>
                  </a:lnTo>
                  <a:lnTo>
                    <a:pt x="456476" y="74891"/>
                  </a:lnTo>
                  <a:close/>
                </a:path>
                <a:path w="643890" h="471804">
                  <a:moveTo>
                    <a:pt x="488556" y="274612"/>
                  </a:moveTo>
                  <a:lnTo>
                    <a:pt x="433362" y="274612"/>
                  </a:lnTo>
                  <a:lnTo>
                    <a:pt x="433362" y="296202"/>
                  </a:lnTo>
                  <a:lnTo>
                    <a:pt x="466725" y="296202"/>
                  </a:lnTo>
                  <a:lnTo>
                    <a:pt x="466725" y="471462"/>
                  </a:lnTo>
                  <a:lnTo>
                    <a:pt x="488556" y="471462"/>
                  </a:lnTo>
                  <a:lnTo>
                    <a:pt x="488556" y="296202"/>
                  </a:lnTo>
                  <a:lnTo>
                    <a:pt x="488556" y="274612"/>
                  </a:lnTo>
                  <a:close/>
                </a:path>
                <a:path w="643890" h="471804">
                  <a:moveTo>
                    <a:pt x="543953" y="315391"/>
                  </a:moveTo>
                  <a:lnTo>
                    <a:pt x="522071" y="315391"/>
                  </a:lnTo>
                  <a:lnTo>
                    <a:pt x="522071" y="471068"/>
                  </a:lnTo>
                  <a:lnTo>
                    <a:pt x="543953" y="471068"/>
                  </a:lnTo>
                  <a:lnTo>
                    <a:pt x="543953" y="315391"/>
                  </a:lnTo>
                  <a:close/>
                </a:path>
                <a:path w="643890" h="471804">
                  <a:moveTo>
                    <a:pt x="543953" y="134632"/>
                  </a:moveTo>
                  <a:lnTo>
                    <a:pt x="522071" y="134632"/>
                  </a:lnTo>
                  <a:lnTo>
                    <a:pt x="522071" y="159080"/>
                  </a:lnTo>
                  <a:lnTo>
                    <a:pt x="543953" y="159080"/>
                  </a:lnTo>
                  <a:lnTo>
                    <a:pt x="543953" y="134632"/>
                  </a:lnTo>
                  <a:close/>
                </a:path>
                <a:path w="643890" h="471804">
                  <a:moveTo>
                    <a:pt x="643623" y="156121"/>
                  </a:moveTo>
                  <a:lnTo>
                    <a:pt x="632485" y="119075"/>
                  </a:lnTo>
                  <a:lnTo>
                    <a:pt x="602716" y="94513"/>
                  </a:lnTo>
                  <a:lnTo>
                    <a:pt x="577316" y="89458"/>
                  </a:lnTo>
                  <a:lnTo>
                    <a:pt x="482142" y="89458"/>
                  </a:lnTo>
                  <a:lnTo>
                    <a:pt x="482142" y="111442"/>
                  </a:lnTo>
                  <a:lnTo>
                    <a:pt x="583209" y="111455"/>
                  </a:lnTo>
                  <a:lnTo>
                    <a:pt x="588886" y="112598"/>
                  </a:lnTo>
                  <a:lnTo>
                    <a:pt x="620623" y="144449"/>
                  </a:lnTo>
                  <a:lnTo>
                    <a:pt x="621741" y="150126"/>
                  </a:lnTo>
                  <a:lnTo>
                    <a:pt x="621741" y="274777"/>
                  </a:lnTo>
                  <a:lnTo>
                    <a:pt x="577469" y="274777"/>
                  </a:lnTo>
                  <a:lnTo>
                    <a:pt x="577469" y="471068"/>
                  </a:lnTo>
                  <a:lnTo>
                    <a:pt x="599351" y="471068"/>
                  </a:lnTo>
                  <a:lnTo>
                    <a:pt x="599351" y="296760"/>
                  </a:lnTo>
                  <a:lnTo>
                    <a:pt x="643623" y="296760"/>
                  </a:lnTo>
                  <a:lnTo>
                    <a:pt x="643623" y="156121"/>
                  </a:lnTo>
                  <a:close/>
                </a:path>
              </a:pathLst>
            </a:custGeom>
            <a:solidFill>
              <a:srgbClr val="F72E40"/>
            </a:solidFill>
          </p:spPr>
          <p:txBody>
            <a:bodyPr wrap="square" lIns="0" tIns="0" rIns="0" bIns="0" rtlCol="0"/>
            <a:lstStyle/>
            <a:p>
              <a:endParaRPr sz="2118"/>
            </a:p>
          </p:txBody>
        </p:sp>
        <p:pic>
          <p:nvPicPr>
            <p:cNvPr id="135" name="object 135"/>
            <p:cNvPicPr/>
            <p:nvPr/>
          </p:nvPicPr>
          <p:blipFill>
            <a:blip r:embed="rId73" cstate="print"/>
            <a:stretch>
              <a:fillRect/>
            </a:stretch>
          </p:blipFill>
          <p:spPr>
            <a:xfrm>
              <a:off x="6947165" y="3127502"/>
              <a:ext cx="125130" cy="150173"/>
            </a:xfrm>
            <a:prstGeom prst="rect">
              <a:avLst/>
            </a:prstGeom>
          </p:spPr>
        </p:pic>
        <p:pic>
          <p:nvPicPr>
            <p:cNvPr id="136" name="object 136"/>
            <p:cNvPicPr/>
            <p:nvPr/>
          </p:nvPicPr>
          <p:blipFill>
            <a:blip r:embed="rId74" cstate="print"/>
            <a:stretch>
              <a:fillRect/>
            </a:stretch>
          </p:blipFill>
          <p:spPr>
            <a:xfrm>
              <a:off x="6742207" y="3220276"/>
              <a:ext cx="115215" cy="133631"/>
            </a:xfrm>
            <a:prstGeom prst="rect">
              <a:avLst/>
            </a:prstGeom>
          </p:spPr>
        </p:pic>
        <p:pic>
          <p:nvPicPr>
            <p:cNvPr id="137" name="object 137"/>
            <p:cNvPicPr/>
            <p:nvPr/>
          </p:nvPicPr>
          <p:blipFill>
            <a:blip r:embed="rId75" cstate="print"/>
            <a:stretch>
              <a:fillRect/>
            </a:stretch>
          </p:blipFill>
          <p:spPr>
            <a:xfrm>
              <a:off x="7166250" y="3223982"/>
              <a:ext cx="115208" cy="133681"/>
            </a:xfrm>
            <a:prstGeom prst="rect">
              <a:avLst/>
            </a:prstGeom>
          </p:spPr>
        </p:pic>
        <p:sp>
          <p:nvSpPr>
            <p:cNvPr id="138" name="object 138"/>
            <p:cNvSpPr/>
            <p:nvPr/>
          </p:nvSpPr>
          <p:spPr>
            <a:xfrm>
              <a:off x="7347204" y="3285693"/>
              <a:ext cx="643890" cy="471805"/>
            </a:xfrm>
            <a:custGeom>
              <a:avLst/>
              <a:gdLst/>
              <a:ahLst/>
              <a:cxnLst/>
              <a:rect l="l" t="t" r="r" b="b"/>
              <a:pathLst>
                <a:path w="643890" h="471804">
                  <a:moveTo>
                    <a:pt x="121526" y="315404"/>
                  </a:moveTo>
                  <a:lnTo>
                    <a:pt x="99631" y="315404"/>
                  </a:lnTo>
                  <a:lnTo>
                    <a:pt x="99631" y="471068"/>
                  </a:lnTo>
                  <a:lnTo>
                    <a:pt x="121526" y="471068"/>
                  </a:lnTo>
                  <a:lnTo>
                    <a:pt x="121526" y="315404"/>
                  </a:lnTo>
                  <a:close/>
                </a:path>
                <a:path w="643890" h="471804">
                  <a:moveTo>
                    <a:pt x="121526" y="134632"/>
                  </a:moveTo>
                  <a:lnTo>
                    <a:pt x="99631" y="134632"/>
                  </a:lnTo>
                  <a:lnTo>
                    <a:pt x="99631" y="159080"/>
                  </a:lnTo>
                  <a:lnTo>
                    <a:pt x="121526" y="159080"/>
                  </a:lnTo>
                  <a:lnTo>
                    <a:pt x="121526" y="134632"/>
                  </a:lnTo>
                  <a:close/>
                </a:path>
                <a:path w="643890" h="471804">
                  <a:moveTo>
                    <a:pt x="161442" y="89458"/>
                  </a:moveTo>
                  <a:lnTo>
                    <a:pt x="61912" y="89471"/>
                  </a:lnTo>
                  <a:lnTo>
                    <a:pt x="25781" y="103162"/>
                  </a:lnTo>
                  <a:lnTo>
                    <a:pt x="3352" y="134632"/>
                  </a:lnTo>
                  <a:lnTo>
                    <a:pt x="0" y="151663"/>
                  </a:lnTo>
                  <a:lnTo>
                    <a:pt x="12" y="296722"/>
                  </a:lnTo>
                  <a:lnTo>
                    <a:pt x="44284" y="296722"/>
                  </a:lnTo>
                  <a:lnTo>
                    <a:pt x="44284" y="471068"/>
                  </a:lnTo>
                  <a:lnTo>
                    <a:pt x="66179" y="471068"/>
                  </a:lnTo>
                  <a:lnTo>
                    <a:pt x="66179" y="274777"/>
                  </a:lnTo>
                  <a:lnTo>
                    <a:pt x="21844" y="274777"/>
                  </a:lnTo>
                  <a:lnTo>
                    <a:pt x="21844" y="156019"/>
                  </a:lnTo>
                  <a:lnTo>
                    <a:pt x="41706" y="118795"/>
                  </a:lnTo>
                  <a:lnTo>
                    <a:pt x="66281" y="111442"/>
                  </a:lnTo>
                  <a:lnTo>
                    <a:pt x="161442" y="111442"/>
                  </a:lnTo>
                  <a:lnTo>
                    <a:pt x="161442" y="89458"/>
                  </a:lnTo>
                  <a:close/>
                </a:path>
                <a:path w="643890" h="471804">
                  <a:moveTo>
                    <a:pt x="210273" y="274599"/>
                  </a:moveTo>
                  <a:lnTo>
                    <a:pt x="155028" y="274599"/>
                  </a:lnTo>
                  <a:lnTo>
                    <a:pt x="155028" y="296189"/>
                  </a:lnTo>
                  <a:lnTo>
                    <a:pt x="155028" y="471449"/>
                  </a:lnTo>
                  <a:lnTo>
                    <a:pt x="176923" y="471449"/>
                  </a:lnTo>
                  <a:lnTo>
                    <a:pt x="176923" y="296189"/>
                  </a:lnTo>
                  <a:lnTo>
                    <a:pt x="210273" y="296189"/>
                  </a:lnTo>
                  <a:lnTo>
                    <a:pt x="210273" y="274599"/>
                  </a:lnTo>
                  <a:close/>
                </a:path>
                <a:path w="643890" h="471804">
                  <a:moveTo>
                    <a:pt x="332740" y="277888"/>
                  </a:moveTo>
                  <a:lnTo>
                    <a:pt x="310845" y="277888"/>
                  </a:lnTo>
                  <a:lnTo>
                    <a:pt x="310845" y="471068"/>
                  </a:lnTo>
                  <a:lnTo>
                    <a:pt x="332740" y="471068"/>
                  </a:lnTo>
                  <a:lnTo>
                    <a:pt x="332740" y="277888"/>
                  </a:lnTo>
                  <a:close/>
                </a:path>
                <a:path w="643890" h="471804">
                  <a:moveTo>
                    <a:pt x="332740" y="138137"/>
                  </a:moveTo>
                  <a:lnTo>
                    <a:pt x="310845" y="138137"/>
                  </a:lnTo>
                  <a:lnTo>
                    <a:pt x="310845" y="162534"/>
                  </a:lnTo>
                  <a:lnTo>
                    <a:pt x="332740" y="162534"/>
                  </a:lnTo>
                  <a:lnTo>
                    <a:pt x="332740" y="138137"/>
                  </a:lnTo>
                  <a:close/>
                </a:path>
                <a:path w="643890" h="471804">
                  <a:moveTo>
                    <a:pt x="332740" y="89306"/>
                  </a:moveTo>
                  <a:lnTo>
                    <a:pt x="310845" y="89306"/>
                  </a:lnTo>
                  <a:lnTo>
                    <a:pt x="310845" y="113753"/>
                  </a:lnTo>
                  <a:lnTo>
                    <a:pt x="332740" y="113753"/>
                  </a:lnTo>
                  <a:lnTo>
                    <a:pt x="332740" y="89306"/>
                  </a:lnTo>
                  <a:close/>
                </a:path>
                <a:path w="643890" h="471804">
                  <a:moveTo>
                    <a:pt x="456476" y="74891"/>
                  </a:moveTo>
                  <a:lnTo>
                    <a:pt x="440232" y="31318"/>
                  </a:lnTo>
                  <a:lnTo>
                    <a:pt x="402501" y="4127"/>
                  </a:lnTo>
                  <a:lnTo>
                    <a:pt x="361035" y="0"/>
                  </a:lnTo>
                  <a:lnTo>
                    <a:pt x="321818" y="39420"/>
                  </a:lnTo>
                  <a:lnTo>
                    <a:pt x="282549" y="0"/>
                  </a:lnTo>
                  <a:lnTo>
                    <a:pt x="241096" y="4127"/>
                  </a:lnTo>
                  <a:lnTo>
                    <a:pt x="206679" y="27266"/>
                  </a:lnTo>
                  <a:lnTo>
                    <a:pt x="187655" y="69697"/>
                  </a:lnTo>
                  <a:lnTo>
                    <a:pt x="187159" y="74891"/>
                  </a:lnTo>
                  <a:lnTo>
                    <a:pt x="187185" y="252095"/>
                  </a:lnTo>
                  <a:lnTo>
                    <a:pt x="242277" y="252095"/>
                  </a:lnTo>
                  <a:lnTo>
                    <a:pt x="242277" y="471068"/>
                  </a:lnTo>
                  <a:lnTo>
                    <a:pt x="264172" y="471068"/>
                  </a:lnTo>
                  <a:lnTo>
                    <a:pt x="264172" y="204304"/>
                  </a:lnTo>
                  <a:lnTo>
                    <a:pt x="242277" y="204304"/>
                  </a:lnTo>
                  <a:lnTo>
                    <a:pt x="242277" y="230098"/>
                  </a:lnTo>
                  <a:lnTo>
                    <a:pt x="209219" y="230098"/>
                  </a:lnTo>
                  <a:lnTo>
                    <a:pt x="209219" y="80137"/>
                  </a:lnTo>
                  <a:lnTo>
                    <a:pt x="210248" y="68567"/>
                  </a:lnTo>
                  <a:lnTo>
                    <a:pt x="234988" y="31661"/>
                  </a:lnTo>
                  <a:lnTo>
                    <a:pt x="266979" y="22136"/>
                  </a:lnTo>
                  <a:lnTo>
                    <a:pt x="273634" y="22136"/>
                  </a:lnTo>
                  <a:lnTo>
                    <a:pt x="321970" y="70624"/>
                  </a:lnTo>
                  <a:lnTo>
                    <a:pt x="370255" y="22136"/>
                  </a:lnTo>
                  <a:lnTo>
                    <a:pt x="412229" y="34074"/>
                  </a:lnTo>
                  <a:lnTo>
                    <a:pt x="434352" y="72567"/>
                  </a:lnTo>
                  <a:lnTo>
                    <a:pt x="434721" y="76339"/>
                  </a:lnTo>
                  <a:lnTo>
                    <a:pt x="434721" y="230098"/>
                  </a:lnTo>
                  <a:lnTo>
                    <a:pt x="401612" y="230098"/>
                  </a:lnTo>
                  <a:lnTo>
                    <a:pt x="401612" y="204304"/>
                  </a:lnTo>
                  <a:lnTo>
                    <a:pt x="379717" y="204304"/>
                  </a:lnTo>
                  <a:lnTo>
                    <a:pt x="379717" y="471068"/>
                  </a:lnTo>
                  <a:lnTo>
                    <a:pt x="401612" y="471068"/>
                  </a:lnTo>
                  <a:lnTo>
                    <a:pt x="401612" y="252095"/>
                  </a:lnTo>
                  <a:lnTo>
                    <a:pt x="456450" y="252095"/>
                  </a:lnTo>
                  <a:lnTo>
                    <a:pt x="456476" y="74891"/>
                  </a:lnTo>
                  <a:close/>
                </a:path>
                <a:path w="643890" h="471804">
                  <a:moveTo>
                    <a:pt x="488556" y="274599"/>
                  </a:moveTo>
                  <a:lnTo>
                    <a:pt x="433311" y="274599"/>
                  </a:lnTo>
                  <a:lnTo>
                    <a:pt x="433311" y="296189"/>
                  </a:lnTo>
                  <a:lnTo>
                    <a:pt x="466674" y="296189"/>
                  </a:lnTo>
                  <a:lnTo>
                    <a:pt x="466674" y="471449"/>
                  </a:lnTo>
                  <a:lnTo>
                    <a:pt x="488556" y="471449"/>
                  </a:lnTo>
                  <a:lnTo>
                    <a:pt x="488556" y="296189"/>
                  </a:lnTo>
                  <a:lnTo>
                    <a:pt x="488556" y="274599"/>
                  </a:lnTo>
                  <a:close/>
                </a:path>
                <a:path w="643890" h="471804">
                  <a:moveTo>
                    <a:pt x="543953" y="315404"/>
                  </a:moveTo>
                  <a:lnTo>
                    <a:pt x="522071" y="315404"/>
                  </a:lnTo>
                  <a:lnTo>
                    <a:pt x="522071" y="471068"/>
                  </a:lnTo>
                  <a:lnTo>
                    <a:pt x="543953" y="471068"/>
                  </a:lnTo>
                  <a:lnTo>
                    <a:pt x="543953" y="315404"/>
                  </a:lnTo>
                  <a:close/>
                </a:path>
                <a:path w="643890" h="471804">
                  <a:moveTo>
                    <a:pt x="543953" y="134632"/>
                  </a:moveTo>
                  <a:lnTo>
                    <a:pt x="522071" y="134632"/>
                  </a:lnTo>
                  <a:lnTo>
                    <a:pt x="522071" y="159080"/>
                  </a:lnTo>
                  <a:lnTo>
                    <a:pt x="543953" y="159080"/>
                  </a:lnTo>
                  <a:lnTo>
                    <a:pt x="543953" y="134632"/>
                  </a:lnTo>
                  <a:close/>
                </a:path>
                <a:path w="643890" h="471804">
                  <a:moveTo>
                    <a:pt x="643775" y="156070"/>
                  </a:moveTo>
                  <a:lnTo>
                    <a:pt x="632523" y="119062"/>
                  </a:lnTo>
                  <a:lnTo>
                    <a:pt x="602716" y="94526"/>
                  </a:lnTo>
                  <a:lnTo>
                    <a:pt x="577316" y="89458"/>
                  </a:lnTo>
                  <a:lnTo>
                    <a:pt x="482142" y="89458"/>
                  </a:lnTo>
                  <a:lnTo>
                    <a:pt x="482142" y="111442"/>
                  </a:lnTo>
                  <a:lnTo>
                    <a:pt x="583209" y="111455"/>
                  </a:lnTo>
                  <a:lnTo>
                    <a:pt x="588886" y="112598"/>
                  </a:lnTo>
                  <a:lnTo>
                    <a:pt x="620623" y="144449"/>
                  </a:lnTo>
                  <a:lnTo>
                    <a:pt x="621741" y="150126"/>
                  </a:lnTo>
                  <a:lnTo>
                    <a:pt x="621741" y="274777"/>
                  </a:lnTo>
                  <a:lnTo>
                    <a:pt x="577418" y="274777"/>
                  </a:lnTo>
                  <a:lnTo>
                    <a:pt x="577418" y="471068"/>
                  </a:lnTo>
                  <a:lnTo>
                    <a:pt x="599300" y="471068"/>
                  </a:lnTo>
                  <a:lnTo>
                    <a:pt x="599300" y="296773"/>
                  </a:lnTo>
                  <a:lnTo>
                    <a:pt x="643775" y="296773"/>
                  </a:lnTo>
                  <a:lnTo>
                    <a:pt x="643775" y="156070"/>
                  </a:lnTo>
                  <a:close/>
                </a:path>
              </a:pathLst>
            </a:custGeom>
            <a:solidFill>
              <a:srgbClr val="F72E40"/>
            </a:solidFill>
          </p:spPr>
          <p:txBody>
            <a:bodyPr wrap="square" lIns="0" tIns="0" rIns="0" bIns="0" rtlCol="0"/>
            <a:lstStyle/>
            <a:p>
              <a:endParaRPr sz="2118"/>
            </a:p>
          </p:txBody>
        </p:sp>
        <p:pic>
          <p:nvPicPr>
            <p:cNvPr id="139" name="object 139"/>
            <p:cNvPicPr/>
            <p:nvPr/>
          </p:nvPicPr>
          <p:blipFill>
            <a:blip r:embed="rId76" cstate="print"/>
            <a:stretch>
              <a:fillRect/>
            </a:stretch>
          </p:blipFill>
          <p:spPr>
            <a:xfrm>
              <a:off x="7610062" y="3129856"/>
              <a:ext cx="124932" cy="150373"/>
            </a:xfrm>
            <a:prstGeom prst="rect">
              <a:avLst/>
            </a:prstGeom>
          </p:spPr>
        </p:pic>
        <p:pic>
          <p:nvPicPr>
            <p:cNvPr id="140" name="object 140"/>
            <p:cNvPicPr/>
            <p:nvPr/>
          </p:nvPicPr>
          <p:blipFill>
            <a:blip r:embed="rId77" cstate="print"/>
            <a:stretch>
              <a:fillRect/>
            </a:stretch>
          </p:blipFill>
          <p:spPr>
            <a:xfrm>
              <a:off x="7404941" y="3222830"/>
              <a:ext cx="115231" cy="133631"/>
            </a:xfrm>
            <a:prstGeom prst="rect">
              <a:avLst/>
            </a:prstGeom>
          </p:spPr>
        </p:pic>
        <p:pic>
          <p:nvPicPr>
            <p:cNvPr id="141" name="object 141"/>
            <p:cNvPicPr/>
            <p:nvPr/>
          </p:nvPicPr>
          <p:blipFill>
            <a:blip r:embed="rId78" cstate="print"/>
            <a:stretch>
              <a:fillRect/>
            </a:stretch>
          </p:blipFill>
          <p:spPr>
            <a:xfrm>
              <a:off x="7828946" y="3225360"/>
              <a:ext cx="115211" cy="134858"/>
            </a:xfrm>
            <a:prstGeom prst="rect">
              <a:avLst/>
            </a:prstGeom>
          </p:spPr>
        </p:pic>
        <p:sp>
          <p:nvSpPr>
            <p:cNvPr id="142" name="object 142"/>
            <p:cNvSpPr/>
            <p:nvPr/>
          </p:nvSpPr>
          <p:spPr>
            <a:xfrm>
              <a:off x="6695275" y="1591055"/>
              <a:ext cx="809625" cy="898525"/>
            </a:xfrm>
            <a:custGeom>
              <a:avLst/>
              <a:gdLst/>
              <a:ahLst/>
              <a:cxnLst/>
              <a:rect l="l" t="t" r="r" b="b"/>
              <a:pathLst>
                <a:path w="809625" h="898525">
                  <a:moveTo>
                    <a:pt x="669124" y="256540"/>
                  </a:moveTo>
                  <a:lnTo>
                    <a:pt x="667664" y="241300"/>
                  </a:lnTo>
                  <a:lnTo>
                    <a:pt x="664756" y="210820"/>
                  </a:lnTo>
                  <a:lnTo>
                    <a:pt x="652322" y="166370"/>
                  </a:lnTo>
                  <a:lnTo>
                    <a:pt x="639572" y="140995"/>
                  </a:lnTo>
                  <a:lnTo>
                    <a:pt x="639572" y="241300"/>
                  </a:lnTo>
                  <a:lnTo>
                    <a:pt x="639572" y="270510"/>
                  </a:lnTo>
                  <a:lnTo>
                    <a:pt x="629932" y="323850"/>
                  </a:lnTo>
                  <a:lnTo>
                    <a:pt x="608050" y="372110"/>
                  </a:lnTo>
                  <a:lnTo>
                    <a:pt x="587273" y="401320"/>
                  </a:lnTo>
                  <a:lnTo>
                    <a:pt x="582041" y="396240"/>
                  </a:lnTo>
                  <a:lnTo>
                    <a:pt x="578154" y="392430"/>
                  </a:lnTo>
                  <a:lnTo>
                    <a:pt x="569150" y="385152"/>
                  </a:lnTo>
                  <a:lnTo>
                    <a:pt x="569150" y="420370"/>
                  </a:lnTo>
                  <a:lnTo>
                    <a:pt x="552157" y="434340"/>
                  </a:lnTo>
                  <a:lnTo>
                    <a:pt x="534022" y="447040"/>
                  </a:lnTo>
                  <a:lnTo>
                    <a:pt x="514743" y="458470"/>
                  </a:lnTo>
                  <a:lnTo>
                    <a:pt x="494487" y="468541"/>
                  </a:lnTo>
                  <a:lnTo>
                    <a:pt x="502970" y="458470"/>
                  </a:lnTo>
                  <a:lnTo>
                    <a:pt x="510882" y="448310"/>
                  </a:lnTo>
                  <a:lnTo>
                    <a:pt x="532752" y="411480"/>
                  </a:lnTo>
                  <a:lnTo>
                    <a:pt x="539800" y="396240"/>
                  </a:lnTo>
                  <a:lnTo>
                    <a:pt x="547497" y="401320"/>
                  </a:lnTo>
                  <a:lnTo>
                    <a:pt x="554951" y="407670"/>
                  </a:lnTo>
                  <a:lnTo>
                    <a:pt x="562165" y="414020"/>
                  </a:lnTo>
                  <a:lnTo>
                    <a:pt x="569150" y="420370"/>
                  </a:lnTo>
                  <a:lnTo>
                    <a:pt x="569150" y="385152"/>
                  </a:lnTo>
                  <a:lnTo>
                    <a:pt x="568731" y="384810"/>
                  </a:lnTo>
                  <a:lnTo>
                    <a:pt x="558952" y="378460"/>
                  </a:lnTo>
                  <a:lnTo>
                    <a:pt x="548817" y="370840"/>
                  </a:lnTo>
                  <a:lnTo>
                    <a:pt x="552704" y="356870"/>
                  </a:lnTo>
                  <a:lnTo>
                    <a:pt x="555536" y="346710"/>
                  </a:lnTo>
                  <a:lnTo>
                    <a:pt x="560552" y="321310"/>
                  </a:lnTo>
                  <a:lnTo>
                    <a:pt x="563880" y="295910"/>
                  </a:lnTo>
                  <a:lnTo>
                    <a:pt x="565492" y="270510"/>
                  </a:lnTo>
                  <a:lnTo>
                    <a:pt x="639572" y="270510"/>
                  </a:lnTo>
                  <a:lnTo>
                    <a:pt x="639572" y="241300"/>
                  </a:lnTo>
                  <a:lnTo>
                    <a:pt x="565746" y="241300"/>
                  </a:lnTo>
                  <a:lnTo>
                    <a:pt x="564095" y="215900"/>
                  </a:lnTo>
                  <a:lnTo>
                    <a:pt x="560768" y="190500"/>
                  </a:lnTo>
                  <a:lnTo>
                    <a:pt x="555752" y="166370"/>
                  </a:lnTo>
                  <a:lnTo>
                    <a:pt x="553072" y="156210"/>
                  </a:lnTo>
                  <a:lnTo>
                    <a:pt x="549059" y="140970"/>
                  </a:lnTo>
                  <a:lnTo>
                    <a:pt x="581444" y="116840"/>
                  </a:lnTo>
                  <a:lnTo>
                    <a:pt x="587476" y="111760"/>
                  </a:lnTo>
                  <a:lnTo>
                    <a:pt x="598449" y="125730"/>
                  </a:lnTo>
                  <a:lnTo>
                    <a:pt x="624014" y="172720"/>
                  </a:lnTo>
                  <a:lnTo>
                    <a:pt x="637768" y="223520"/>
                  </a:lnTo>
                  <a:lnTo>
                    <a:pt x="639572" y="241300"/>
                  </a:lnTo>
                  <a:lnTo>
                    <a:pt x="639572" y="140995"/>
                  </a:lnTo>
                  <a:lnTo>
                    <a:pt x="606196" y="91440"/>
                  </a:lnTo>
                  <a:lnTo>
                    <a:pt x="574040" y="59690"/>
                  </a:lnTo>
                  <a:lnTo>
                    <a:pt x="568896" y="56184"/>
                  </a:lnTo>
                  <a:lnTo>
                    <a:pt x="568896" y="92710"/>
                  </a:lnTo>
                  <a:lnTo>
                    <a:pt x="562051" y="99060"/>
                  </a:lnTo>
                  <a:lnTo>
                    <a:pt x="554951" y="105410"/>
                  </a:lnTo>
                  <a:lnTo>
                    <a:pt x="547598" y="110490"/>
                  </a:lnTo>
                  <a:lnTo>
                    <a:pt x="539991" y="116840"/>
                  </a:lnTo>
                  <a:lnTo>
                    <a:pt x="536892" y="109639"/>
                  </a:lnTo>
                  <a:lnTo>
                    <a:pt x="536892" y="241300"/>
                  </a:lnTo>
                  <a:lnTo>
                    <a:pt x="536790" y="270510"/>
                  </a:lnTo>
                  <a:lnTo>
                    <a:pt x="535406" y="292100"/>
                  </a:lnTo>
                  <a:lnTo>
                    <a:pt x="532714" y="313690"/>
                  </a:lnTo>
                  <a:lnTo>
                    <a:pt x="528701" y="335280"/>
                  </a:lnTo>
                  <a:lnTo>
                    <a:pt x="523367" y="356870"/>
                  </a:lnTo>
                  <a:lnTo>
                    <a:pt x="517499" y="354330"/>
                  </a:lnTo>
                  <a:lnTo>
                    <a:pt x="514807" y="353174"/>
                  </a:lnTo>
                  <a:lnTo>
                    <a:pt x="514807" y="382270"/>
                  </a:lnTo>
                  <a:lnTo>
                    <a:pt x="511416" y="389890"/>
                  </a:lnTo>
                  <a:lnTo>
                    <a:pt x="507784" y="397510"/>
                  </a:lnTo>
                  <a:lnTo>
                    <a:pt x="503910" y="406400"/>
                  </a:lnTo>
                  <a:lnTo>
                    <a:pt x="481101" y="441960"/>
                  </a:lnTo>
                  <a:lnTo>
                    <a:pt x="437299" y="477520"/>
                  </a:lnTo>
                  <a:lnTo>
                    <a:pt x="413321" y="485140"/>
                  </a:lnTo>
                  <a:lnTo>
                    <a:pt x="413283" y="354330"/>
                  </a:lnTo>
                  <a:lnTo>
                    <a:pt x="439826" y="356870"/>
                  </a:lnTo>
                  <a:lnTo>
                    <a:pt x="465594" y="361950"/>
                  </a:lnTo>
                  <a:lnTo>
                    <a:pt x="490588" y="370840"/>
                  </a:lnTo>
                  <a:lnTo>
                    <a:pt x="514807" y="382270"/>
                  </a:lnTo>
                  <a:lnTo>
                    <a:pt x="514807" y="353174"/>
                  </a:lnTo>
                  <a:lnTo>
                    <a:pt x="496976" y="345440"/>
                  </a:lnTo>
                  <a:lnTo>
                    <a:pt x="469811" y="336550"/>
                  </a:lnTo>
                  <a:lnTo>
                    <a:pt x="441883" y="330200"/>
                  </a:lnTo>
                  <a:lnTo>
                    <a:pt x="413181" y="327660"/>
                  </a:lnTo>
                  <a:lnTo>
                    <a:pt x="413283" y="270510"/>
                  </a:lnTo>
                  <a:lnTo>
                    <a:pt x="536790" y="270510"/>
                  </a:lnTo>
                  <a:lnTo>
                    <a:pt x="536790" y="241300"/>
                  </a:lnTo>
                  <a:lnTo>
                    <a:pt x="413372" y="241300"/>
                  </a:lnTo>
                  <a:lnTo>
                    <a:pt x="413283" y="185420"/>
                  </a:lnTo>
                  <a:lnTo>
                    <a:pt x="441985" y="181610"/>
                  </a:lnTo>
                  <a:lnTo>
                    <a:pt x="469925" y="176530"/>
                  </a:lnTo>
                  <a:lnTo>
                    <a:pt x="497078" y="167640"/>
                  </a:lnTo>
                  <a:lnTo>
                    <a:pt x="514667" y="160020"/>
                  </a:lnTo>
                  <a:lnTo>
                    <a:pt x="517601" y="158750"/>
                  </a:lnTo>
                  <a:lnTo>
                    <a:pt x="532815" y="198120"/>
                  </a:lnTo>
                  <a:lnTo>
                    <a:pt x="536892" y="241300"/>
                  </a:lnTo>
                  <a:lnTo>
                    <a:pt x="536892" y="109639"/>
                  </a:lnTo>
                  <a:lnTo>
                    <a:pt x="518896" y="74930"/>
                  </a:lnTo>
                  <a:lnTo>
                    <a:pt x="514604" y="68935"/>
                  </a:lnTo>
                  <a:lnTo>
                    <a:pt x="514604" y="130810"/>
                  </a:lnTo>
                  <a:lnTo>
                    <a:pt x="490435" y="142240"/>
                  </a:lnTo>
                  <a:lnTo>
                    <a:pt x="465505" y="149860"/>
                  </a:lnTo>
                  <a:lnTo>
                    <a:pt x="439801" y="156210"/>
                  </a:lnTo>
                  <a:lnTo>
                    <a:pt x="413321" y="158750"/>
                  </a:lnTo>
                  <a:lnTo>
                    <a:pt x="413321" y="27940"/>
                  </a:lnTo>
                  <a:lnTo>
                    <a:pt x="413283" y="26670"/>
                  </a:lnTo>
                  <a:lnTo>
                    <a:pt x="460019" y="49530"/>
                  </a:lnTo>
                  <a:lnTo>
                    <a:pt x="499579" y="99060"/>
                  </a:lnTo>
                  <a:lnTo>
                    <a:pt x="511238" y="123190"/>
                  </a:lnTo>
                  <a:lnTo>
                    <a:pt x="514604" y="130810"/>
                  </a:lnTo>
                  <a:lnTo>
                    <a:pt x="514604" y="68935"/>
                  </a:lnTo>
                  <a:lnTo>
                    <a:pt x="511632" y="64770"/>
                  </a:lnTo>
                  <a:lnTo>
                    <a:pt x="503720" y="54610"/>
                  </a:lnTo>
                  <a:lnTo>
                    <a:pt x="495173" y="44450"/>
                  </a:lnTo>
                  <a:lnTo>
                    <a:pt x="515213" y="54610"/>
                  </a:lnTo>
                  <a:lnTo>
                    <a:pt x="534149" y="64770"/>
                  </a:lnTo>
                  <a:lnTo>
                    <a:pt x="551980" y="77470"/>
                  </a:lnTo>
                  <a:lnTo>
                    <a:pt x="568693" y="92710"/>
                  </a:lnTo>
                  <a:lnTo>
                    <a:pt x="568896" y="92710"/>
                  </a:lnTo>
                  <a:lnTo>
                    <a:pt x="568896" y="56184"/>
                  </a:lnTo>
                  <a:lnTo>
                    <a:pt x="551700" y="44450"/>
                  </a:lnTo>
                  <a:lnTo>
                    <a:pt x="536803" y="34290"/>
                  </a:lnTo>
                  <a:lnTo>
                    <a:pt x="520179" y="26670"/>
                  </a:lnTo>
                  <a:lnTo>
                    <a:pt x="495261" y="15240"/>
                  </a:lnTo>
                  <a:lnTo>
                    <a:pt x="450164" y="3810"/>
                  </a:lnTo>
                  <a:lnTo>
                    <a:pt x="402259" y="0"/>
                  </a:lnTo>
                  <a:lnTo>
                    <a:pt x="386384" y="1244"/>
                  </a:lnTo>
                  <a:lnTo>
                    <a:pt x="386384" y="27940"/>
                  </a:lnTo>
                  <a:lnTo>
                    <a:pt x="386384" y="185420"/>
                  </a:lnTo>
                  <a:lnTo>
                    <a:pt x="386334" y="241300"/>
                  </a:lnTo>
                  <a:lnTo>
                    <a:pt x="386334" y="327660"/>
                  </a:lnTo>
                  <a:lnTo>
                    <a:pt x="386334" y="486410"/>
                  </a:lnTo>
                  <a:lnTo>
                    <a:pt x="362343" y="477520"/>
                  </a:lnTo>
                  <a:lnTo>
                    <a:pt x="345782" y="467360"/>
                  </a:lnTo>
                  <a:lnTo>
                    <a:pt x="339572" y="463550"/>
                  </a:lnTo>
                  <a:lnTo>
                    <a:pt x="318617" y="441960"/>
                  </a:lnTo>
                  <a:lnTo>
                    <a:pt x="305142" y="421703"/>
                  </a:lnTo>
                  <a:lnTo>
                    <a:pt x="305142" y="467360"/>
                  </a:lnTo>
                  <a:lnTo>
                    <a:pt x="285242" y="458470"/>
                  </a:lnTo>
                  <a:lnTo>
                    <a:pt x="266458" y="447040"/>
                  </a:lnTo>
                  <a:lnTo>
                    <a:pt x="248780" y="434340"/>
                  </a:lnTo>
                  <a:lnTo>
                    <a:pt x="232219" y="420370"/>
                  </a:lnTo>
                  <a:lnTo>
                    <a:pt x="239141" y="414020"/>
                  </a:lnTo>
                  <a:lnTo>
                    <a:pt x="246227" y="407670"/>
                  </a:lnTo>
                  <a:lnTo>
                    <a:pt x="253542" y="402590"/>
                  </a:lnTo>
                  <a:lnTo>
                    <a:pt x="256552" y="400050"/>
                  </a:lnTo>
                  <a:lnTo>
                    <a:pt x="261061" y="396240"/>
                  </a:lnTo>
                  <a:lnTo>
                    <a:pt x="264337" y="403860"/>
                  </a:lnTo>
                  <a:lnTo>
                    <a:pt x="267843" y="411480"/>
                  </a:lnTo>
                  <a:lnTo>
                    <a:pt x="289179" y="448310"/>
                  </a:lnTo>
                  <a:lnTo>
                    <a:pt x="305142" y="467360"/>
                  </a:lnTo>
                  <a:lnTo>
                    <a:pt x="305142" y="421703"/>
                  </a:lnTo>
                  <a:lnTo>
                    <a:pt x="300037" y="414020"/>
                  </a:lnTo>
                  <a:lnTo>
                    <a:pt x="295821" y="406400"/>
                  </a:lnTo>
                  <a:lnTo>
                    <a:pt x="291909" y="398780"/>
                  </a:lnTo>
                  <a:lnTo>
                    <a:pt x="290880" y="396240"/>
                  </a:lnTo>
                  <a:lnTo>
                    <a:pt x="288315" y="389890"/>
                  </a:lnTo>
                  <a:lnTo>
                    <a:pt x="285000" y="382270"/>
                  </a:lnTo>
                  <a:lnTo>
                    <a:pt x="309156" y="370840"/>
                  </a:lnTo>
                  <a:lnTo>
                    <a:pt x="334086" y="361950"/>
                  </a:lnTo>
                  <a:lnTo>
                    <a:pt x="359803" y="356870"/>
                  </a:lnTo>
                  <a:lnTo>
                    <a:pt x="386283" y="354330"/>
                  </a:lnTo>
                  <a:lnTo>
                    <a:pt x="386334" y="486410"/>
                  </a:lnTo>
                  <a:lnTo>
                    <a:pt x="386334" y="327660"/>
                  </a:lnTo>
                  <a:lnTo>
                    <a:pt x="357619" y="330200"/>
                  </a:lnTo>
                  <a:lnTo>
                    <a:pt x="329692" y="336550"/>
                  </a:lnTo>
                  <a:lnTo>
                    <a:pt x="302526" y="345440"/>
                  </a:lnTo>
                  <a:lnTo>
                    <a:pt x="276136" y="356870"/>
                  </a:lnTo>
                  <a:lnTo>
                    <a:pt x="270764" y="335280"/>
                  </a:lnTo>
                  <a:lnTo>
                    <a:pt x="266725" y="313690"/>
                  </a:lnTo>
                  <a:lnTo>
                    <a:pt x="264007" y="292100"/>
                  </a:lnTo>
                  <a:lnTo>
                    <a:pt x="262610" y="270510"/>
                  </a:lnTo>
                  <a:lnTo>
                    <a:pt x="386283" y="270510"/>
                  </a:lnTo>
                  <a:lnTo>
                    <a:pt x="386334" y="327660"/>
                  </a:lnTo>
                  <a:lnTo>
                    <a:pt x="386334" y="241300"/>
                  </a:lnTo>
                  <a:lnTo>
                    <a:pt x="262661" y="241300"/>
                  </a:lnTo>
                  <a:lnTo>
                    <a:pt x="264058" y="219710"/>
                  </a:lnTo>
                  <a:lnTo>
                    <a:pt x="266776" y="198120"/>
                  </a:lnTo>
                  <a:lnTo>
                    <a:pt x="270814" y="176530"/>
                  </a:lnTo>
                  <a:lnTo>
                    <a:pt x="276186" y="156210"/>
                  </a:lnTo>
                  <a:lnTo>
                    <a:pt x="302577" y="167640"/>
                  </a:lnTo>
                  <a:lnTo>
                    <a:pt x="329742" y="176530"/>
                  </a:lnTo>
                  <a:lnTo>
                    <a:pt x="357670" y="181610"/>
                  </a:lnTo>
                  <a:lnTo>
                    <a:pt x="386384" y="185420"/>
                  </a:lnTo>
                  <a:lnTo>
                    <a:pt x="386384" y="27940"/>
                  </a:lnTo>
                  <a:lnTo>
                    <a:pt x="386334" y="160020"/>
                  </a:lnTo>
                  <a:lnTo>
                    <a:pt x="359854" y="156210"/>
                  </a:lnTo>
                  <a:lnTo>
                    <a:pt x="334149" y="151130"/>
                  </a:lnTo>
                  <a:lnTo>
                    <a:pt x="309219" y="142240"/>
                  </a:lnTo>
                  <a:lnTo>
                    <a:pt x="285051" y="130810"/>
                  </a:lnTo>
                  <a:lnTo>
                    <a:pt x="288353" y="123190"/>
                  </a:lnTo>
                  <a:lnTo>
                    <a:pt x="291363" y="116840"/>
                  </a:lnTo>
                  <a:lnTo>
                    <a:pt x="291960" y="115570"/>
                  </a:lnTo>
                  <a:lnTo>
                    <a:pt x="318668" y="72390"/>
                  </a:lnTo>
                  <a:lnTo>
                    <a:pt x="347218" y="45720"/>
                  </a:lnTo>
                  <a:lnTo>
                    <a:pt x="362381" y="35560"/>
                  </a:lnTo>
                  <a:lnTo>
                    <a:pt x="386384" y="27940"/>
                  </a:lnTo>
                  <a:lnTo>
                    <a:pt x="386384" y="1244"/>
                  </a:lnTo>
                  <a:lnTo>
                    <a:pt x="353593" y="3810"/>
                  </a:lnTo>
                  <a:lnTo>
                    <a:pt x="307835" y="16510"/>
                  </a:lnTo>
                  <a:lnTo>
                    <a:pt x="305244" y="17691"/>
                  </a:lnTo>
                  <a:lnTo>
                    <a:pt x="305244" y="45720"/>
                  </a:lnTo>
                  <a:lnTo>
                    <a:pt x="296875" y="55880"/>
                  </a:lnTo>
                  <a:lnTo>
                    <a:pt x="289128" y="66040"/>
                  </a:lnTo>
                  <a:lnTo>
                    <a:pt x="282003" y="76200"/>
                  </a:lnTo>
                  <a:lnTo>
                    <a:pt x="275488" y="87630"/>
                  </a:lnTo>
                  <a:lnTo>
                    <a:pt x="271538" y="93980"/>
                  </a:lnTo>
                  <a:lnTo>
                    <a:pt x="267804" y="101600"/>
                  </a:lnTo>
                  <a:lnTo>
                    <a:pt x="264299" y="109220"/>
                  </a:lnTo>
                  <a:lnTo>
                    <a:pt x="261010" y="116840"/>
                  </a:lnTo>
                  <a:lnTo>
                    <a:pt x="253479" y="111760"/>
                  </a:lnTo>
                  <a:lnTo>
                    <a:pt x="251193" y="109778"/>
                  </a:lnTo>
                  <a:lnTo>
                    <a:pt x="251193" y="140970"/>
                  </a:lnTo>
                  <a:lnTo>
                    <a:pt x="251193" y="370840"/>
                  </a:lnTo>
                  <a:lnTo>
                    <a:pt x="241261" y="377190"/>
                  </a:lnTo>
                  <a:lnTo>
                    <a:pt x="231673" y="384810"/>
                  </a:lnTo>
                  <a:lnTo>
                    <a:pt x="222415" y="392430"/>
                  </a:lnTo>
                  <a:lnTo>
                    <a:pt x="213487" y="400050"/>
                  </a:lnTo>
                  <a:lnTo>
                    <a:pt x="202641" y="386080"/>
                  </a:lnTo>
                  <a:lnTo>
                    <a:pt x="177431" y="340360"/>
                  </a:lnTo>
                  <a:lnTo>
                    <a:pt x="163893" y="288290"/>
                  </a:lnTo>
                  <a:lnTo>
                    <a:pt x="162140" y="270510"/>
                  </a:lnTo>
                  <a:lnTo>
                    <a:pt x="234670" y="270510"/>
                  </a:lnTo>
                  <a:lnTo>
                    <a:pt x="236270" y="295910"/>
                  </a:lnTo>
                  <a:lnTo>
                    <a:pt x="239560" y="321310"/>
                  </a:lnTo>
                  <a:lnTo>
                    <a:pt x="244538" y="346710"/>
                  </a:lnTo>
                  <a:lnTo>
                    <a:pt x="251193" y="370840"/>
                  </a:lnTo>
                  <a:lnTo>
                    <a:pt x="251193" y="140970"/>
                  </a:lnTo>
                  <a:lnTo>
                    <a:pt x="244513" y="166370"/>
                  </a:lnTo>
                  <a:lnTo>
                    <a:pt x="239534" y="190500"/>
                  </a:lnTo>
                  <a:lnTo>
                    <a:pt x="236245" y="215900"/>
                  </a:lnTo>
                  <a:lnTo>
                    <a:pt x="234670" y="241300"/>
                  </a:lnTo>
                  <a:lnTo>
                    <a:pt x="162140" y="241300"/>
                  </a:lnTo>
                  <a:lnTo>
                    <a:pt x="171526" y="189230"/>
                  </a:lnTo>
                  <a:lnTo>
                    <a:pt x="193014" y="140970"/>
                  </a:lnTo>
                  <a:lnTo>
                    <a:pt x="213487" y="111760"/>
                  </a:lnTo>
                  <a:lnTo>
                    <a:pt x="222402" y="120650"/>
                  </a:lnTo>
                  <a:lnTo>
                    <a:pt x="231660" y="128270"/>
                  </a:lnTo>
                  <a:lnTo>
                    <a:pt x="241261" y="134620"/>
                  </a:lnTo>
                  <a:lnTo>
                    <a:pt x="251193" y="140970"/>
                  </a:lnTo>
                  <a:lnTo>
                    <a:pt x="251193" y="109778"/>
                  </a:lnTo>
                  <a:lnTo>
                    <a:pt x="246164" y="105410"/>
                  </a:lnTo>
                  <a:lnTo>
                    <a:pt x="239077" y="100330"/>
                  </a:lnTo>
                  <a:lnTo>
                    <a:pt x="232219" y="93980"/>
                  </a:lnTo>
                  <a:lnTo>
                    <a:pt x="248805" y="78740"/>
                  </a:lnTo>
                  <a:lnTo>
                    <a:pt x="266496" y="66040"/>
                  </a:lnTo>
                  <a:lnTo>
                    <a:pt x="285318" y="55880"/>
                  </a:lnTo>
                  <a:lnTo>
                    <a:pt x="305244" y="45720"/>
                  </a:lnTo>
                  <a:lnTo>
                    <a:pt x="305244" y="17691"/>
                  </a:lnTo>
                  <a:lnTo>
                    <a:pt x="265785" y="35560"/>
                  </a:lnTo>
                  <a:lnTo>
                    <a:pt x="228219" y="60960"/>
                  </a:lnTo>
                  <a:lnTo>
                    <a:pt x="195922" y="92710"/>
                  </a:lnTo>
                  <a:lnTo>
                    <a:pt x="169684" y="129540"/>
                  </a:lnTo>
                  <a:lnTo>
                    <a:pt x="150304" y="171450"/>
                  </a:lnTo>
                  <a:lnTo>
                    <a:pt x="138569" y="215900"/>
                  </a:lnTo>
                  <a:lnTo>
                    <a:pt x="135255" y="262890"/>
                  </a:lnTo>
                  <a:lnTo>
                    <a:pt x="141160" y="312420"/>
                  </a:lnTo>
                  <a:lnTo>
                    <a:pt x="156502" y="359410"/>
                  </a:lnTo>
                  <a:lnTo>
                    <a:pt x="180670" y="401320"/>
                  </a:lnTo>
                  <a:lnTo>
                    <a:pt x="212598" y="439420"/>
                  </a:lnTo>
                  <a:lnTo>
                    <a:pt x="251256" y="469900"/>
                  </a:lnTo>
                  <a:lnTo>
                    <a:pt x="295592" y="492760"/>
                  </a:lnTo>
                  <a:lnTo>
                    <a:pt x="344563" y="508000"/>
                  </a:lnTo>
                  <a:lnTo>
                    <a:pt x="391007" y="514350"/>
                  </a:lnTo>
                  <a:lnTo>
                    <a:pt x="435838" y="511810"/>
                  </a:lnTo>
                  <a:lnTo>
                    <a:pt x="478472" y="502920"/>
                  </a:lnTo>
                  <a:lnTo>
                    <a:pt x="518299" y="488950"/>
                  </a:lnTo>
                  <a:lnTo>
                    <a:pt x="522592" y="486410"/>
                  </a:lnTo>
                  <a:lnTo>
                    <a:pt x="524725" y="485140"/>
                  </a:lnTo>
                  <a:lnTo>
                    <a:pt x="552602" y="468630"/>
                  </a:lnTo>
                  <a:lnTo>
                    <a:pt x="554736" y="467360"/>
                  </a:lnTo>
                  <a:lnTo>
                    <a:pt x="587209" y="441960"/>
                  </a:lnTo>
                  <a:lnTo>
                    <a:pt x="615099" y="411480"/>
                  </a:lnTo>
                  <a:lnTo>
                    <a:pt x="621830" y="401320"/>
                  </a:lnTo>
                  <a:lnTo>
                    <a:pt x="637819" y="377190"/>
                  </a:lnTo>
                  <a:lnTo>
                    <a:pt x="654799" y="340360"/>
                  </a:lnTo>
                  <a:lnTo>
                    <a:pt x="665429" y="299720"/>
                  </a:lnTo>
                  <a:lnTo>
                    <a:pt x="667931" y="270510"/>
                  </a:lnTo>
                  <a:lnTo>
                    <a:pt x="669124" y="256540"/>
                  </a:lnTo>
                  <a:close/>
                </a:path>
                <a:path w="809625" h="898525">
                  <a:moveTo>
                    <a:pt x="809269" y="342442"/>
                  </a:moveTo>
                  <a:lnTo>
                    <a:pt x="792886" y="302628"/>
                  </a:lnTo>
                  <a:lnTo>
                    <a:pt x="753122" y="285902"/>
                  </a:lnTo>
                  <a:lnTo>
                    <a:pt x="742061" y="286994"/>
                  </a:lnTo>
                  <a:lnTo>
                    <a:pt x="703237" y="315785"/>
                  </a:lnTo>
                  <a:lnTo>
                    <a:pt x="696823" y="336829"/>
                  </a:lnTo>
                  <a:lnTo>
                    <a:pt x="696823" y="464400"/>
                  </a:lnTo>
                  <a:lnTo>
                    <a:pt x="723912" y="464400"/>
                  </a:lnTo>
                  <a:lnTo>
                    <a:pt x="723912" y="342442"/>
                  </a:lnTo>
                  <a:lnTo>
                    <a:pt x="723747" y="338467"/>
                  </a:lnTo>
                  <a:lnTo>
                    <a:pt x="724369" y="334619"/>
                  </a:lnTo>
                  <a:lnTo>
                    <a:pt x="749109" y="312039"/>
                  </a:lnTo>
                  <a:lnTo>
                    <a:pt x="757072" y="312039"/>
                  </a:lnTo>
                  <a:lnTo>
                    <a:pt x="782434" y="338467"/>
                  </a:lnTo>
                  <a:lnTo>
                    <a:pt x="782269" y="342442"/>
                  </a:lnTo>
                  <a:lnTo>
                    <a:pt x="782269" y="589280"/>
                  </a:lnTo>
                  <a:lnTo>
                    <a:pt x="781532" y="593001"/>
                  </a:lnTo>
                  <a:lnTo>
                    <a:pt x="778598" y="600163"/>
                  </a:lnTo>
                  <a:lnTo>
                    <a:pt x="776490" y="603313"/>
                  </a:lnTo>
                  <a:lnTo>
                    <a:pt x="680643" y="699160"/>
                  </a:lnTo>
                  <a:lnTo>
                    <a:pt x="671245" y="709498"/>
                  </a:lnTo>
                  <a:lnTo>
                    <a:pt x="649935" y="745096"/>
                  </a:lnTo>
                  <a:lnTo>
                    <a:pt x="639914" y="785863"/>
                  </a:lnTo>
                  <a:lnTo>
                    <a:pt x="504190" y="785863"/>
                  </a:lnTo>
                  <a:lnTo>
                    <a:pt x="504190" y="702068"/>
                  </a:lnTo>
                  <a:lnTo>
                    <a:pt x="504532" y="694982"/>
                  </a:lnTo>
                  <a:lnTo>
                    <a:pt x="520509" y="656475"/>
                  </a:lnTo>
                  <a:lnTo>
                    <a:pt x="656996" y="519468"/>
                  </a:lnTo>
                  <a:lnTo>
                    <a:pt x="663867" y="516636"/>
                  </a:lnTo>
                  <a:lnTo>
                    <a:pt x="677824" y="516648"/>
                  </a:lnTo>
                  <a:lnTo>
                    <a:pt x="701687" y="545706"/>
                  </a:lnTo>
                  <a:lnTo>
                    <a:pt x="699414" y="557263"/>
                  </a:lnTo>
                  <a:lnTo>
                    <a:pt x="696772" y="562254"/>
                  </a:lnTo>
                  <a:lnTo>
                    <a:pt x="593801" y="665175"/>
                  </a:lnTo>
                  <a:lnTo>
                    <a:pt x="586905" y="668032"/>
                  </a:lnTo>
                  <a:lnTo>
                    <a:pt x="578815" y="668007"/>
                  </a:lnTo>
                  <a:lnTo>
                    <a:pt x="578815" y="695109"/>
                  </a:lnTo>
                  <a:lnTo>
                    <a:pt x="618883" y="678573"/>
                  </a:lnTo>
                  <a:lnTo>
                    <a:pt x="716572" y="580923"/>
                  </a:lnTo>
                  <a:lnTo>
                    <a:pt x="728687" y="544042"/>
                  </a:lnTo>
                  <a:lnTo>
                    <a:pt x="728103" y="537540"/>
                  </a:lnTo>
                  <a:lnTo>
                    <a:pt x="709599" y="503402"/>
                  </a:lnTo>
                  <a:lnTo>
                    <a:pt x="673468" y="489191"/>
                  </a:lnTo>
                  <a:lnTo>
                    <a:pt x="660273" y="490410"/>
                  </a:lnTo>
                  <a:lnTo>
                    <a:pt x="653973" y="492125"/>
                  </a:lnTo>
                  <a:lnTo>
                    <a:pt x="647979" y="494957"/>
                  </a:lnTo>
                  <a:lnTo>
                    <a:pt x="647979" y="494411"/>
                  </a:lnTo>
                  <a:lnTo>
                    <a:pt x="647433" y="493953"/>
                  </a:lnTo>
                  <a:lnTo>
                    <a:pt x="647128" y="493407"/>
                  </a:lnTo>
                  <a:lnTo>
                    <a:pt x="599948" y="538480"/>
                  </a:lnTo>
                  <a:lnTo>
                    <a:pt x="506285" y="632142"/>
                  </a:lnTo>
                  <a:lnTo>
                    <a:pt x="484797" y="664311"/>
                  </a:lnTo>
                  <a:lnTo>
                    <a:pt x="477291" y="702271"/>
                  </a:lnTo>
                  <a:lnTo>
                    <a:pt x="477291" y="786015"/>
                  </a:lnTo>
                  <a:lnTo>
                    <a:pt x="440829" y="786015"/>
                  </a:lnTo>
                  <a:lnTo>
                    <a:pt x="440829" y="868807"/>
                  </a:lnTo>
                  <a:lnTo>
                    <a:pt x="422935" y="870788"/>
                  </a:lnTo>
                  <a:lnTo>
                    <a:pt x="405041" y="871448"/>
                  </a:lnTo>
                  <a:lnTo>
                    <a:pt x="387146" y="870788"/>
                  </a:lnTo>
                  <a:lnTo>
                    <a:pt x="369252" y="868807"/>
                  </a:lnTo>
                  <a:lnTo>
                    <a:pt x="369252" y="785812"/>
                  </a:lnTo>
                  <a:lnTo>
                    <a:pt x="332790" y="785812"/>
                  </a:lnTo>
                  <a:lnTo>
                    <a:pt x="332790" y="702068"/>
                  </a:lnTo>
                  <a:lnTo>
                    <a:pt x="332333" y="692302"/>
                  </a:lnTo>
                  <a:lnTo>
                    <a:pt x="321119" y="655256"/>
                  </a:lnTo>
                  <a:lnTo>
                    <a:pt x="183578" y="511733"/>
                  </a:lnTo>
                  <a:lnTo>
                    <a:pt x="184073" y="510730"/>
                  </a:lnTo>
                  <a:lnTo>
                    <a:pt x="149009" y="490181"/>
                  </a:lnTo>
                  <a:lnTo>
                    <a:pt x="132219" y="489280"/>
                  </a:lnTo>
                  <a:lnTo>
                    <a:pt x="126771" y="490067"/>
                  </a:lnTo>
                  <a:lnTo>
                    <a:pt x="90614" y="514057"/>
                  </a:lnTo>
                  <a:lnTo>
                    <a:pt x="81000" y="545503"/>
                  </a:lnTo>
                  <a:lnTo>
                    <a:pt x="81267" y="551014"/>
                  </a:lnTo>
                  <a:lnTo>
                    <a:pt x="190741" y="678332"/>
                  </a:lnTo>
                  <a:lnTo>
                    <a:pt x="230555" y="694855"/>
                  </a:lnTo>
                  <a:lnTo>
                    <a:pt x="230555" y="667753"/>
                  </a:lnTo>
                  <a:lnTo>
                    <a:pt x="222478" y="667766"/>
                  </a:lnTo>
                  <a:lnTo>
                    <a:pt x="215582" y="664908"/>
                  </a:lnTo>
                  <a:lnTo>
                    <a:pt x="116916" y="566178"/>
                  </a:lnTo>
                  <a:lnTo>
                    <a:pt x="108991" y="549541"/>
                  </a:lnTo>
                  <a:lnTo>
                    <a:pt x="109118" y="541972"/>
                  </a:lnTo>
                  <a:lnTo>
                    <a:pt x="141541" y="516991"/>
                  </a:lnTo>
                  <a:lnTo>
                    <a:pt x="145199" y="517639"/>
                  </a:lnTo>
                  <a:lnTo>
                    <a:pt x="284353" y="651129"/>
                  </a:lnTo>
                  <a:lnTo>
                    <a:pt x="304076" y="687920"/>
                  </a:lnTo>
                  <a:lnTo>
                    <a:pt x="305435" y="701967"/>
                  </a:lnTo>
                  <a:lnTo>
                    <a:pt x="305435" y="785710"/>
                  </a:lnTo>
                  <a:lnTo>
                    <a:pt x="169710" y="785710"/>
                  </a:lnTo>
                  <a:lnTo>
                    <a:pt x="168021" y="773557"/>
                  </a:lnTo>
                  <a:lnTo>
                    <a:pt x="165328" y="761695"/>
                  </a:lnTo>
                  <a:lnTo>
                    <a:pt x="144576" y="717677"/>
                  </a:lnTo>
                  <a:lnTo>
                    <a:pt x="32981" y="603338"/>
                  </a:lnTo>
                  <a:lnTo>
                    <a:pt x="30873" y="600202"/>
                  </a:lnTo>
                  <a:lnTo>
                    <a:pt x="27940" y="593051"/>
                  </a:lnTo>
                  <a:lnTo>
                    <a:pt x="27203" y="589330"/>
                  </a:lnTo>
                  <a:lnTo>
                    <a:pt x="27203" y="342544"/>
                  </a:lnTo>
                  <a:lnTo>
                    <a:pt x="27038" y="338569"/>
                  </a:lnTo>
                  <a:lnTo>
                    <a:pt x="52400" y="312140"/>
                  </a:lnTo>
                  <a:lnTo>
                    <a:pt x="60363" y="312140"/>
                  </a:lnTo>
                  <a:lnTo>
                    <a:pt x="85725" y="338569"/>
                  </a:lnTo>
                  <a:lnTo>
                    <a:pt x="85559" y="342544"/>
                  </a:lnTo>
                  <a:lnTo>
                    <a:pt x="85559" y="464502"/>
                  </a:lnTo>
                  <a:lnTo>
                    <a:pt x="112661" y="464502"/>
                  </a:lnTo>
                  <a:lnTo>
                    <a:pt x="112661" y="342392"/>
                  </a:lnTo>
                  <a:lnTo>
                    <a:pt x="112763" y="338632"/>
                  </a:lnTo>
                  <a:lnTo>
                    <a:pt x="94157" y="298805"/>
                  </a:lnTo>
                  <a:lnTo>
                    <a:pt x="60147" y="284416"/>
                  </a:lnTo>
                  <a:lnTo>
                    <a:pt x="52616" y="284416"/>
                  </a:lnTo>
                  <a:lnTo>
                    <a:pt x="13360" y="304203"/>
                  </a:lnTo>
                  <a:lnTo>
                    <a:pt x="0" y="338632"/>
                  </a:lnTo>
                  <a:lnTo>
                    <a:pt x="114" y="342392"/>
                  </a:lnTo>
                  <a:lnTo>
                    <a:pt x="101" y="592785"/>
                  </a:lnTo>
                  <a:lnTo>
                    <a:pt x="1536" y="599960"/>
                  </a:lnTo>
                  <a:lnTo>
                    <a:pt x="7264" y="613740"/>
                  </a:lnTo>
                  <a:lnTo>
                    <a:pt x="11328" y="619810"/>
                  </a:lnTo>
                  <a:lnTo>
                    <a:pt x="109702" y="718197"/>
                  </a:lnTo>
                  <a:lnTo>
                    <a:pt x="122275" y="732955"/>
                  </a:lnTo>
                  <a:lnTo>
                    <a:pt x="131940" y="749134"/>
                  </a:lnTo>
                  <a:lnTo>
                    <a:pt x="138658" y="766737"/>
                  </a:lnTo>
                  <a:lnTo>
                    <a:pt x="142455" y="785761"/>
                  </a:lnTo>
                  <a:lnTo>
                    <a:pt x="106845" y="785761"/>
                  </a:lnTo>
                  <a:lnTo>
                    <a:pt x="106845" y="880021"/>
                  </a:lnTo>
                  <a:lnTo>
                    <a:pt x="133946" y="880021"/>
                  </a:lnTo>
                  <a:lnTo>
                    <a:pt x="133946" y="812863"/>
                  </a:lnTo>
                  <a:lnTo>
                    <a:pt x="341858" y="812863"/>
                  </a:lnTo>
                  <a:lnTo>
                    <a:pt x="341858" y="891247"/>
                  </a:lnTo>
                  <a:lnTo>
                    <a:pt x="352869" y="893343"/>
                  </a:lnTo>
                  <a:lnTo>
                    <a:pt x="378802" y="897102"/>
                  </a:lnTo>
                  <a:lnTo>
                    <a:pt x="404736" y="898359"/>
                  </a:lnTo>
                  <a:lnTo>
                    <a:pt x="430669" y="897102"/>
                  </a:lnTo>
                  <a:lnTo>
                    <a:pt x="456603" y="893343"/>
                  </a:lnTo>
                  <a:lnTo>
                    <a:pt x="467626" y="891247"/>
                  </a:lnTo>
                  <a:lnTo>
                    <a:pt x="467626" y="812863"/>
                  </a:lnTo>
                  <a:lnTo>
                    <a:pt x="675576" y="812863"/>
                  </a:lnTo>
                  <a:lnTo>
                    <a:pt x="675576" y="880021"/>
                  </a:lnTo>
                  <a:lnTo>
                    <a:pt x="702627" y="880021"/>
                  </a:lnTo>
                  <a:lnTo>
                    <a:pt x="702627" y="785812"/>
                  </a:lnTo>
                  <a:lnTo>
                    <a:pt x="667016" y="785812"/>
                  </a:lnTo>
                  <a:lnTo>
                    <a:pt x="670775" y="766800"/>
                  </a:lnTo>
                  <a:lnTo>
                    <a:pt x="677481" y="749198"/>
                  </a:lnTo>
                  <a:lnTo>
                    <a:pt x="687108" y="733005"/>
                  </a:lnTo>
                  <a:lnTo>
                    <a:pt x="699668" y="718248"/>
                  </a:lnTo>
                  <a:lnTo>
                    <a:pt x="792734" y="625182"/>
                  </a:lnTo>
                  <a:lnTo>
                    <a:pt x="799947" y="616508"/>
                  </a:lnTo>
                  <a:lnTo>
                    <a:pt x="805116" y="606983"/>
                  </a:lnTo>
                  <a:lnTo>
                    <a:pt x="808215" y="596595"/>
                  </a:lnTo>
                  <a:lnTo>
                    <a:pt x="809269" y="585368"/>
                  </a:lnTo>
                  <a:lnTo>
                    <a:pt x="809269" y="342442"/>
                  </a:lnTo>
                  <a:close/>
                </a:path>
              </a:pathLst>
            </a:custGeom>
            <a:solidFill>
              <a:srgbClr val="F73A4A"/>
            </a:solidFill>
          </p:spPr>
          <p:txBody>
            <a:bodyPr wrap="square" lIns="0" tIns="0" rIns="0" bIns="0" rtlCol="0"/>
            <a:lstStyle/>
            <a:p>
              <a:endParaRPr sz="2118"/>
            </a:p>
          </p:txBody>
        </p:sp>
        <p:sp>
          <p:nvSpPr>
            <p:cNvPr id="143" name="object 143"/>
            <p:cNvSpPr/>
            <p:nvPr/>
          </p:nvSpPr>
          <p:spPr>
            <a:xfrm>
              <a:off x="4259160" y="2369756"/>
              <a:ext cx="1662430" cy="485140"/>
            </a:xfrm>
            <a:custGeom>
              <a:avLst/>
              <a:gdLst/>
              <a:ahLst/>
              <a:cxnLst/>
              <a:rect l="l" t="t" r="r" b="b"/>
              <a:pathLst>
                <a:path w="1662429" h="485139">
                  <a:moveTo>
                    <a:pt x="1662036" y="35217"/>
                  </a:moveTo>
                  <a:lnTo>
                    <a:pt x="1373619" y="35217"/>
                  </a:lnTo>
                  <a:lnTo>
                    <a:pt x="1372019" y="31330"/>
                  </a:lnTo>
                  <a:lnTo>
                    <a:pt x="1369669" y="27825"/>
                  </a:lnTo>
                  <a:lnTo>
                    <a:pt x="1363586" y="21742"/>
                  </a:lnTo>
                  <a:lnTo>
                    <a:pt x="1360081" y="19392"/>
                  </a:lnTo>
                  <a:lnTo>
                    <a:pt x="1352118" y="16103"/>
                  </a:lnTo>
                  <a:lnTo>
                    <a:pt x="1351089" y="15900"/>
                  </a:lnTo>
                  <a:lnTo>
                    <a:pt x="1351089" y="45681"/>
                  </a:lnTo>
                  <a:lnTo>
                    <a:pt x="1351089" y="295211"/>
                  </a:lnTo>
                  <a:lnTo>
                    <a:pt x="1350365" y="296951"/>
                  </a:lnTo>
                  <a:lnTo>
                    <a:pt x="1347470" y="299847"/>
                  </a:lnTo>
                  <a:lnTo>
                    <a:pt x="1345730" y="300570"/>
                  </a:lnTo>
                  <a:lnTo>
                    <a:pt x="1151597" y="300570"/>
                  </a:lnTo>
                  <a:lnTo>
                    <a:pt x="1149845" y="299847"/>
                  </a:lnTo>
                  <a:lnTo>
                    <a:pt x="1146937" y="296964"/>
                  </a:lnTo>
                  <a:lnTo>
                    <a:pt x="1146200" y="295211"/>
                  </a:lnTo>
                  <a:lnTo>
                    <a:pt x="1146200" y="45681"/>
                  </a:lnTo>
                  <a:lnTo>
                    <a:pt x="1146937" y="43942"/>
                  </a:lnTo>
                  <a:lnTo>
                    <a:pt x="1149845" y="41046"/>
                  </a:lnTo>
                  <a:lnTo>
                    <a:pt x="1151597" y="40322"/>
                  </a:lnTo>
                  <a:lnTo>
                    <a:pt x="1345730" y="40322"/>
                  </a:lnTo>
                  <a:lnTo>
                    <a:pt x="1347470" y="41046"/>
                  </a:lnTo>
                  <a:lnTo>
                    <a:pt x="1350365" y="43929"/>
                  </a:lnTo>
                  <a:lnTo>
                    <a:pt x="1351089" y="45681"/>
                  </a:lnTo>
                  <a:lnTo>
                    <a:pt x="1351089" y="15900"/>
                  </a:lnTo>
                  <a:lnTo>
                    <a:pt x="1347978" y="15278"/>
                  </a:lnTo>
                  <a:lnTo>
                    <a:pt x="1149350" y="15278"/>
                  </a:lnTo>
                  <a:lnTo>
                    <a:pt x="1121156" y="43421"/>
                  </a:lnTo>
                  <a:lnTo>
                    <a:pt x="1121156" y="69850"/>
                  </a:lnTo>
                  <a:lnTo>
                    <a:pt x="1121156" y="99060"/>
                  </a:lnTo>
                  <a:lnTo>
                    <a:pt x="1121156" y="278130"/>
                  </a:lnTo>
                  <a:lnTo>
                    <a:pt x="1103617" y="278130"/>
                  </a:lnTo>
                  <a:lnTo>
                    <a:pt x="1101521" y="274320"/>
                  </a:lnTo>
                  <a:lnTo>
                    <a:pt x="1099070" y="271780"/>
                  </a:lnTo>
                  <a:lnTo>
                    <a:pt x="1082078" y="254685"/>
                  </a:lnTo>
                  <a:lnTo>
                    <a:pt x="1082078" y="309880"/>
                  </a:lnTo>
                  <a:lnTo>
                    <a:pt x="1079855" y="314960"/>
                  </a:lnTo>
                  <a:lnTo>
                    <a:pt x="1075461" y="320040"/>
                  </a:lnTo>
                  <a:lnTo>
                    <a:pt x="1073429" y="321310"/>
                  </a:lnTo>
                  <a:lnTo>
                    <a:pt x="1071118" y="322580"/>
                  </a:lnTo>
                  <a:lnTo>
                    <a:pt x="1065974" y="325120"/>
                  </a:lnTo>
                  <a:lnTo>
                    <a:pt x="1057859" y="325120"/>
                  </a:lnTo>
                  <a:lnTo>
                    <a:pt x="1055230" y="323850"/>
                  </a:lnTo>
                  <a:lnTo>
                    <a:pt x="1050226" y="322580"/>
                  </a:lnTo>
                  <a:lnTo>
                    <a:pt x="1048029" y="320040"/>
                  </a:lnTo>
                  <a:lnTo>
                    <a:pt x="1046111" y="318770"/>
                  </a:lnTo>
                  <a:lnTo>
                    <a:pt x="962672" y="234950"/>
                  </a:lnTo>
                  <a:lnTo>
                    <a:pt x="961339" y="233680"/>
                  </a:lnTo>
                  <a:lnTo>
                    <a:pt x="959777" y="232410"/>
                  </a:lnTo>
                  <a:lnTo>
                    <a:pt x="958011" y="232410"/>
                  </a:lnTo>
                  <a:lnTo>
                    <a:pt x="948347" y="222250"/>
                  </a:lnTo>
                  <a:lnTo>
                    <a:pt x="946988" y="220980"/>
                  </a:lnTo>
                  <a:lnTo>
                    <a:pt x="945438" y="219710"/>
                  </a:lnTo>
                  <a:lnTo>
                    <a:pt x="941908" y="218440"/>
                  </a:lnTo>
                  <a:lnTo>
                    <a:pt x="934351" y="218440"/>
                  </a:lnTo>
                  <a:lnTo>
                    <a:pt x="923137" y="229870"/>
                  </a:lnTo>
                  <a:lnTo>
                    <a:pt x="923251" y="234950"/>
                  </a:lnTo>
                  <a:lnTo>
                    <a:pt x="1010805" y="326390"/>
                  </a:lnTo>
                  <a:lnTo>
                    <a:pt x="1014831" y="330200"/>
                  </a:lnTo>
                  <a:lnTo>
                    <a:pt x="1017003" y="335280"/>
                  </a:lnTo>
                  <a:lnTo>
                    <a:pt x="1001356" y="361950"/>
                  </a:lnTo>
                  <a:lnTo>
                    <a:pt x="990003" y="361950"/>
                  </a:lnTo>
                  <a:lnTo>
                    <a:pt x="985253" y="359410"/>
                  </a:lnTo>
                  <a:lnTo>
                    <a:pt x="981354" y="355600"/>
                  </a:lnTo>
                  <a:lnTo>
                    <a:pt x="967727" y="341630"/>
                  </a:lnTo>
                  <a:lnTo>
                    <a:pt x="966978" y="340360"/>
                  </a:lnTo>
                  <a:lnTo>
                    <a:pt x="966177" y="340360"/>
                  </a:lnTo>
                  <a:lnTo>
                    <a:pt x="880033" y="254000"/>
                  </a:lnTo>
                  <a:lnTo>
                    <a:pt x="878433" y="252730"/>
                  </a:lnTo>
                  <a:lnTo>
                    <a:pt x="874788" y="251460"/>
                  </a:lnTo>
                  <a:lnTo>
                    <a:pt x="867067" y="251460"/>
                  </a:lnTo>
                  <a:lnTo>
                    <a:pt x="858316" y="259080"/>
                  </a:lnTo>
                  <a:lnTo>
                    <a:pt x="857034" y="261620"/>
                  </a:lnTo>
                  <a:lnTo>
                    <a:pt x="856742" y="264160"/>
                  </a:lnTo>
                  <a:lnTo>
                    <a:pt x="856881" y="267970"/>
                  </a:lnTo>
                  <a:lnTo>
                    <a:pt x="857300" y="269240"/>
                  </a:lnTo>
                  <a:lnTo>
                    <a:pt x="858850" y="273050"/>
                  </a:lnTo>
                  <a:lnTo>
                    <a:pt x="859917" y="274320"/>
                  </a:lnTo>
                  <a:lnTo>
                    <a:pt x="861288" y="275590"/>
                  </a:lnTo>
                  <a:lnTo>
                    <a:pt x="876312" y="290830"/>
                  </a:lnTo>
                  <a:lnTo>
                    <a:pt x="876706" y="292100"/>
                  </a:lnTo>
                  <a:lnTo>
                    <a:pt x="877125" y="292100"/>
                  </a:lnTo>
                  <a:lnTo>
                    <a:pt x="946492" y="361950"/>
                  </a:lnTo>
                  <a:lnTo>
                    <a:pt x="949553" y="365760"/>
                  </a:lnTo>
                  <a:lnTo>
                    <a:pt x="951064" y="369570"/>
                  </a:lnTo>
                  <a:lnTo>
                    <a:pt x="951052" y="377190"/>
                  </a:lnTo>
                  <a:lnTo>
                    <a:pt x="934935" y="394970"/>
                  </a:lnTo>
                  <a:lnTo>
                    <a:pt x="923747" y="394970"/>
                  </a:lnTo>
                  <a:lnTo>
                    <a:pt x="918972" y="392430"/>
                  </a:lnTo>
                  <a:lnTo>
                    <a:pt x="894194" y="367030"/>
                  </a:lnTo>
                  <a:lnTo>
                    <a:pt x="893445" y="367030"/>
                  </a:lnTo>
                  <a:lnTo>
                    <a:pt x="892644" y="365760"/>
                  </a:lnTo>
                  <a:lnTo>
                    <a:pt x="806513" y="279400"/>
                  </a:lnTo>
                  <a:lnTo>
                    <a:pt x="804913" y="278130"/>
                  </a:lnTo>
                  <a:lnTo>
                    <a:pt x="801281" y="276860"/>
                  </a:lnTo>
                  <a:lnTo>
                    <a:pt x="793572" y="276860"/>
                  </a:lnTo>
                  <a:lnTo>
                    <a:pt x="789978" y="279400"/>
                  </a:lnTo>
                  <a:lnTo>
                    <a:pt x="788403" y="279400"/>
                  </a:lnTo>
                  <a:lnTo>
                    <a:pt x="787069" y="281940"/>
                  </a:lnTo>
                  <a:lnTo>
                    <a:pt x="785787" y="283210"/>
                  </a:lnTo>
                  <a:lnTo>
                    <a:pt x="784834" y="284480"/>
                  </a:lnTo>
                  <a:lnTo>
                    <a:pt x="783539" y="288290"/>
                  </a:lnTo>
                  <a:lnTo>
                    <a:pt x="783247" y="289560"/>
                  </a:lnTo>
                  <a:lnTo>
                    <a:pt x="783374" y="293370"/>
                  </a:lnTo>
                  <a:lnTo>
                    <a:pt x="783793" y="295910"/>
                  </a:lnTo>
                  <a:lnTo>
                    <a:pt x="785329" y="299720"/>
                  </a:lnTo>
                  <a:lnTo>
                    <a:pt x="786396" y="300990"/>
                  </a:lnTo>
                  <a:lnTo>
                    <a:pt x="809650" y="323850"/>
                  </a:lnTo>
                  <a:lnTo>
                    <a:pt x="810031" y="325120"/>
                  </a:lnTo>
                  <a:lnTo>
                    <a:pt x="810450" y="325120"/>
                  </a:lnTo>
                  <a:lnTo>
                    <a:pt x="872807" y="387350"/>
                  </a:lnTo>
                  <a:lnTo>
                    <a:pt x="874407" y="389890"/>
                  </a:lnTo>
                  <a:lnTo>
                    <a:pt x="875601" y="392430"/>
                  </a:lnTo>
                  <a:lnTo>
                    <a:pt x="877163" y="396240"/>
                  </a:lnTo>
                  <a:lnTo>
                    <a:pt x="877481" y="398780"/>
                  </a:lnTo>
                  <a:lnTo>
                    <a:pt x="877189" y="403860"/>
                  </a:lnTo>
                  <a:lnTo>
                    <a:pt x="861974" y="420370"/>
                  </a:lnTo>
                  <a:lnTo>
                    <a:pt x="859320" y="421640"/>
                  </a:lnTo>
                  <a:lnTo>
                    <a:pt x="853808" y="421640"/>
                  </a:lnTo>
                  <a:lnTo>
                    <a:pt x="851154" y="420370"/>
                  </a:lnTo>
                  <a:lnTo>
                    <a:pt x="846061" y="419100"/>
                  </a:lnTo>
                  <a:lnTo>
                    <a:pt x="843813" y="417830"/>
                  </a:lnTo>
                  <a:lnTo>
                    <a:pt x="836320" y="410210"/>
                  </a:lnTo>
                  <a:lnTo>
                    <a:pt x="808367" y="381762"/>
                  </a:lnTo>
                  <a:lnTo>
                    <a:pt x="808367" y="429260"/>
                  </a:lnTo>
                  <a:lnTo>
                    <a:pt x="802386" y="445770"/>
                  </a:lnTo>
                  <a:lnTo>
                    <a:pt x="796505" y="452120"/>
                  </a:lnTo>
                  <a:lnTo>
                    <a:pt x="794346" y="453390"/>
                  </a:lnTo>
                  <a:lnTo>
                    <a:pt x="789470" y="455930"/>
                  </a:lnTo>
                  <a:lnTo>
                    <a:pt x="779056" y="455930"/>
                  </a:lnTo>
                  <a:lnTo>
                    <a:pt x="762762" y="434340"/>
                  </a:lnTo>
                  <a:lnTo>
                    <a:pt x="763041" y="431800"/>
                  </a:lnTo>
                  <a:lnTo>
                    <a:pt x="764565" y="426720"/>
                  </a:lnTo>
                  <a:lnTo>
                    <a:pt x="765784" y="424180"/>
                  </a:lnTo>
                  <a:lnTo>
                    <a:pt x="767435" y="422910"/>
                  </a:lnTo>
                  <a:lnTo>
                    <a:pt x="773480" y="416560"/>
                  </a:lnTo>
                  <a:lnTo>
                    <a:pt x="774687" y="415290"/>
                  </a:lnTo>
                  <a:lnTo>
                    <a:pt x="776782" y="414020"/>
                  </a:lnTo>
                  <a:lnTo>
                    <a:pt x="779081" y="412750"/>
                  </a:lnTo>
                  <a:lnTo>
                    <a:pt x="784148" y="411480"/>
                  </a:lnTo>
                  <a:lnTo>
                    <a:pt x="786726" y="410210"/>
                  </a:lnTo>
                  <a:lnTo>
                    <a:pt x="791984" y="411480"/>
                  </a:lnTo>
                  <a:lnTo>
                    <a:pt x="794486" y="411480"/>
                  </a:lnTo>
                  <a:lnTo>
                    <a:pt x="799198" y="414020"/>
                  </a:lnTo>
                  <a:lnTo>
                    <a:pt x="801255" y="415290"/>
                  </a:lnTo>
                  <a:lnTo>
                    <a:pt x="804773" y="420370"/>
                  </a:lnTo>
                  <a:lnTo>
                    <a:pt x="806107" y="421640"/>
                  </a:lnTo>
                  <a:lnTo>
                    <a:pt x="807935" y="426720"/>
                  </a:lnTo>
                  <a:lnTo>
                    <a:pt x="808367" y="429260"/>
                  </a:lnTo>
                  <a:lnTo>
                    <a:pt x="808367" y="381762"/>
                  </a:lnTo>
                  <a:lnTo>
                    <a:pt x="786409" y="359410"/>
                  </a:lnTo>
                  <a:lnTo>
                    <a:pt x="785634" y="358140"/>
                  </a:lnTo>
                  <a:lnTo>
                    <a:pt x="779399" y="347980"/>
                  </a:lnTo>
                  <a:lnTo>
                    <a:pt x="774763" y="342900"/>
                  </a:lnTo>
                  <a:lnTo>
                    <a:pt x="769366" y="339090"/>
                  </a:lnTo>
                  <a:lnTo>
                    <a:pt x="763435" y="335280"/>
                  </a:lnTo>
                  <a:lnTo>
                    <a:pt x="761657" y="334568"/>
                  </a:lnTo>
                  <a:lnTo>
                    <a:pt x="761657" y="377190"/>
                  </a:lnTo>
                  <a:lnTo>
                    <a:pt x="761453" y="382270"/>
                  </a:lnTo>
                  <a:lnTo>
                    <a:pt x="760857" y="384810"/>
                  </a:lnTo>
                  <a:lnTo>
                    <a:pt x="758659" y="389890"/>
                  </a:lnTo>
                  <a:lnTo>
                    <a:pt x="757148" y="392430"/>
                  </a:lnTo>
                  <a:lnTo>
                    <a:pt x="755103" y="393700"/>
                  </a:lnTo>
                  <a:lnTo>
                    <a:pt x="754202" y="394970"/>
                  </a:lnTo>
                  <a:lnTo>
                    <a:pt x="753351" y="394970"/>
                  </a:lnTo>
                  <a:lnTo>
                    <a:pt x="747699" y="401320"/>
                  </a:lnTo>
                  <a:lnTo>
                    <a:pt x="746086" y="402590"/>
                  </a:lnTo>
                  <a:lnTo>
                    <a:pt x="737031" y="411480"/>
                  </a:lnTo>
                  <a:lnTo>
                    <a:pt x="734783" y="412750"/>
                  </a:lnTo>
                  <a:lnTo>
                    <a:pt x="729691" y="415290"/>
                  </a:lnTo>
                  <a:lnTo>
                    <a:pt x="727036" y="416560"/>
                  </a:lnTo>
                  <a:lnTo>
                    <a:pt x="721525" y="416560"/>
                  </a:lnTo>
                  <a:lnTo>
                    <a:pt x="718870" y="415290"/>
                  </a:lnTo>
                  <a:lnTo>
                    <a:pt x="713778" y="412750"/>
                  </a:lnTo>
                  <a:lnTo>
                    <a:pt x="711530" y="411480"/>
                  </a:lnTo>
                  <a:lnTo>
                    <a:pt x="707771" y="407670"/>
                  </a:lnTo>
                  <a:lnTo>
                    <a:pt x="706348" y="406400"/>
                  </a:lnTo>
                  <a:lnTo>
                    <a:pt x="705827" y="405130"/>
                  </a:lnTo>
                  <a:lnTo>
                    <a:pt x="704265" y="401320"/>
                  </a:lnTo>
                  <a:lnTo>
                    <a:pt x="703668" y="398780"/>
                  </a:lnTo>
                  <a:lnTo>
                    <a:pt x="703376" y="393700"/>
                  </a:lnTo>
                  <a:lnTo>
                    <a:pt x="703694" y="391160"/>
                  </a:lnTo>
                  <a:lnTo>
                    <a:pt x="705243" y="386080"/>
                  </a:lnTo>
                  <a:lnTo>
                    <a:pt x="706437" y="384810"/>
                  </a:lnTo>
                  <a:lnTo>
                    <a:pt x="708025" y="382270"/>
                  </a:lnTo>
                  <a:lnTo>
                    <a:pt x="713232" y="377190"/>
                  </a:lnTo>
                  <a:lnTo>
                    <a:pt x="727557" y="363220"/>
                  </a:lnTo>
                  <a:lnTo>
                    <a:pt x="729627" y="360680"/>
                  </a:lnTo>
                  <a:lnTo>
                    <a:pt x="731951" y="359410"/>
                  </a:lnTo>
                  <a:lnTo>
                    <a:pt x="737069" y="358140"/>
                  </a:lnTo>
                  <a:lnTo>
                    <a:pt x="745045" y="358140"/>
                  </a:lnTo>
                  <a:lnTo>
                    <a:pt x="747598" y="359410"/>
                  </a:lnTo>
                  <a:lnTo>
                    <a:pt x="752411" y="360680"/>
                  </a:lnTo>
                  <a:lnTo>
                    <a:pt x="754507" y="363220"/>
                  </a:lnTo>
                  <a:lnTo>
                    <a:pt x="758088" y="367030"/>
                  </a:lnTo>
                  <a:lnTo>
                    <a:pt x="759434" y="369570"/>
                  </a:lnTo>
                  <a:lnTo>
                    <a:pt x="761250" y="374650"/>
                  </a:lnTo>
                  <a:lnTo>
                    <a:pt x="761657" y="377190"/>
                  </a:lnTo>
                  <a:lnTo>
                    <a:pt x="761657" y="334568"/>
                  </a:lnTo>
                  <a:lnTo>
                    <a:pt x="757174" y="332740"/>
                  </a:lnTo>
                  <a:lnTo>
                    <a:pt x="750595" y="330200"/>
                  </a:lnTo>
                  <a:lnTo>
                    <a:pt x="743686" y="328930"/>
                  </a:lnTo>
                  <a:lnTo>
                    <a:pt x="743724" y="322580"/>
                  </a:lnTo>
                  <a:lnTo>
                    <a:pt x="724484" y="285750"/>
                  </a:lnTo>
                  <a:lnTo>
                    <a:pt x="715314" y="280657"/>
                  </a:lnTo>
                  <a:lnTo>
                    <a:pt x="715314" y="325120"/>
                  </a:lnTo>
                  <a:lnTo>
                    <a:pt x="713663" y="334010"/>
                  </a:lnTo>
                  <a:lnTo>
                    <a:pt x="711758" y="337820"/>
                  </a:lnTo>
                  <a:lnTo>
                    <a:pt x="708774" y="340360"/>
                  </a:lnTo>
                  <a:lnTo>
                    <a:pt x="707720" y="341630"/>
                  </a:lnTo>
                  <a:lnTo>
                    <a:pt x="705967" y="342900"/>
                  </a:lnTo>
                  <a:lnTo>
                    <a:pt x="705167" y="344170"/>
                  </a:lnTo>
                  <a:lnTo>
                    <a:pt x="688898" y="359410"/>
                  </a:lnTo>
                  <a:lnTo>
                    <a:pt x="688047" y="360680"/>
                  </a:lnTo>
                  <a:lnTo>
                    <a:pt x="687235" y="361950"/>
                  </a:lnTo>
                  <a:lnTo>
                    <a:pt x="686536" y="363220"/>
                  </a:lnTo>
                  <a:lnTo>
                    <a:pt x="675678" y="373380"/>
                  </a:lnTo>
                  <a:lnTo>
                    <a:pt x="673430" y="374650"/>
                  </a:lnTo>
                  <a:lnTo>
                    <a:pt x="668337" y="377190"/>
                  </a:lnTo>
                  <a:lnTo>
                    <a:pt x="657504" y="377190"/>
                  </a:lnTo>
                  <a:lnTo>
                    <a:pt x="643712" y="364490"/>
                  </a:lnTo>
                  <a:lnTo>
                    <a:pt x="642658" y="361950"/>
                  </a:lnTo>
                  <a:lnTo>
                    <a:pt x="642137" y="359410"/>
                  </a:lnTo>
                  <a:lnTo>
                    <a:pt x="642137" y="354330"/>
                  </a:lnTo>
                  <a:lnTo>
                    <a:pt x="679323" y="311150"/>
                  </a:lnTo>
                  <a:lnTo>
                    <a:pt x="688289" y="304800"/>
                  </a:lnTo>
                  <a:lnTo>
                    <a:pt x="698258" y="304800"/>
                  </a:lnTo>
                  <a:lnTo>
                    <a:pt x="715314" y="325120"/>
                  </a:lnTo>
                  <a:lnTo>
                    <a:pt x="715314" y="280657"/>
                  </a:lnTo>
                  <a:lnTo>
                    <a:pt x="712152" y="279400"/>
                  </a:lnTo>
                  <a:lnTo>
                    <a:pt x="705523" y="276860"/>
                  </a:lnTo>
                  <a:lnTo>
                    <a:pt x="698652" y="275590"/>
                  </a:lnTo>
                  <a:lnTo>
                    <a:pt x="691553" y="275590"/>
                  </a:lnTo>
                  <a:lnTo>
                    <a:pt x="677773" y="278130"/>
                  </a:lnTo>
                  <a:lnTo>
                    <a:pt x="671372" y="281940"/>
                  </a:lnTo>
                  <a:lnTo>
                    <a:pt x="665302" y="284480"/>
                  </a:lnTo>
                  <a:lnTo>
                    <a:pt x="663143" y="279400"/>
                  </a:lnTo>
                  <a:lnTo>
                    <a:pt x="662063" y="276860"/>
                  </a:lnTo>
                  <a:lnTo>
                    <a:pt x="657694" y="270510"/>
                  </a:lnTo>
                  <a:lnTo>
                    <a:pt x="652195" y="264160"/>
                  </a:lnTo>
                  <a:lnTo>
                    <a:pt x="645566" y="259080"/>
                  </a:lnTo>
                  <a:lnTo>
                    <a:pt x="639826" y="255270"/>
                  </a:lnTo>
                  <a:lnTo>
                    <a:pt x="638733" y="254838"/>
                  </a:lnTo>
                  <a:lnTo>
                    <a:pt x="638733" y="303530"/>
                  </a:lnTo>
                  <a:lnTo>
                    <a:pt x="638200" y="306070"/>
                  </a:lnTo>
                  <a:lnTo>
                    <a:pt x="636092" y="311150"/>
                  </a:lnTo>
                  <a:lnTo>
                    <a:pt x="634593" y="312420"/>
                  </a:lnTo>
                  <a:lnTo>
                    <a:pt x="632650" y="314960"/>
                  </a:lnTo>
                  <a:lnTo>
                    <a:pt x="616419" y="331470"/>
                  </a:lnTo>
                  <a:lnTo>
                    <a:pt x="614489" y="332740"/>
                  </a:lnTo>
                  <a:lnTo>
                    <a:pt x="612228" y="335280"/>
                  </a:lnTo>
                  <a:lnTo>
                    <a:pt x="607072" y="336550"/>
                  </a:lnTo>
                  <a:lnTo>
                    <a:pt x="604367" y="337820"/>
                  </a:lnTo>
                  <a:lnTo>
                    <a:pt x="596011" y="337820"/>
                  </a:lnTo>
                  <a:lnTo>
                    <a:pt x="580339" y="318770"/>
                  </a:lnTo>
                  <a:lnTo>
                    <a:pt x="580428" y="313690"/>
                  </a:lnTo>
                  <a:lnTo>
                    <a:pt x="581025" y="311150"/>
                  </a:lnTo>
                  <a:lnTo>
                    <a:pt x="583311" y="306070"/>
                  </a:lnTo>
                  <a:lnTo>
                    <a:pt x="584911" y="303530"/>
                  </a:lnTo>
                  <a:lnTo>
                    <a:pt x="586968" y="302260"/>
                  </a:lnTo>
                  <a:lnTo>
                    <a:pt x="605142" y="283210"/>
                  </a:lnTo>
                  <a:lnTo>
                    <a:pt x="607390" y="281940"/>
                  </a:lnTo>
                  <a:lnTo>
                    <a:pt x="612482" y="279400"/>
                  </a:lnTo>
                  <a:lnTo>
                    <a:pt x="623316" y="279400"/>
                  </a:lnTo>
                  <a:lnTo>
                    <a:pt x="638733" y="303530"/>
                  </a:lnTo>
                  <a:lnTo>
                    <a:pt x="638733" y="254838"/>
                  </a:lnTo>
                  <a:lnTo>
                    <a:pt x="633526" y="252730"/>
                  </a:lnTo>
                  <a:lnTo>
                    <a:pt x="626681" y="251460"/>
                  </a:lnTo>
                  <a:lnTo>
                    <a:pt x="618642" y="250190"/>
                  </a:lnTo>
                  <a:lnTo>
                    <a:pt x="610730" y="250190"/>
                  </a:lnTo>
                  <a:lnTo>
                    <a:pt x="595147" y="255270"/>
                  </a:lnTo>
                  <a:lnTo>
                    <a:pt x="588365" y="259080"/>
                  </a:lnTo>
                  <a:lnTo>
                    <a:pt x="582612" y="265430"/>
                  </a:lnTo>
                  <a:lnTo>
                    <a:pt x="566331" y="280670"/>
                  </a:lnTo>
                  <a:lnTo>
                    <a:pt x="561606" y="287020"/>
                  </a:lnTo>
                  <a:lnTo>
                    <a:pt x="557796" y="292100"/>
                  </a:lnTo>
                  <a:lnTo>
                    <a:pt x="554901" y="298450"/>
                  </a:lnTo>
                  <a:lnTo>
                    <a:pt x="552907" y="306070"/>
                  </a:lnTo>
                  <a:lnTo>
                    <a:pt x="544791" y="306070"/>
                  </a:lnTo>
                  <a:lnTo>
                    <a:pt x="544791" y="109220"/>
                  </a:lnTo>
                  <a:lnTo>
                    <a:pt x="600024" y="109220"/>
                  </a:lnTo>
                  <a:lnTo>
                    <a:pt x="603694" y="106680"/>
                  </a:lnTo>
                  <a:lnTo>
                    <a:pt x="642518" y="62230"/>
                  </a:lnTo>
                  <a:lnTo>
                    <a:pt x="748347" y="62230"/>
                  </a:lnTo>
                  <a:lnTo>
                    <a:pt x="679272" y="147320"/>
                  </a:lnTo>
                  <a:lnTo>
                    <a:pt x="676732" y="149860"/>
                  </a:lnTo>
                  <a:lnTo>
                    <a:pt x="674509" y="153670"/>
                  </a:lnTo>
                  <a:lnTo>
                    <a:pt x="665276" y="184150"/>
                  </a:lnTo>
                  <a:lnTo>
                    <a:pt x="665276" y="187960"/>
                  </a:lnTo>
                  <a:lnTo>
                    <a:pt x="676706" y="220980"/>
                  </a:lnTo>
                  <a:lnTo>
                    <a:pt x="681812" y="227330"/>
                  </a:lnTo>
                  <a:lnTo>
                    <a:pt x="716546" y="246380"/>
                  </a:lnTo>
                  <a:lnTo>
                    <a:pt x="736511" y="246380"/>
                  </a:lnTo>
                  <a:lnTo>
                    <a:pt x="771156" y="227330"/>
                  </a:lnTo>
                  <a:lnTo>
                    <a:pt x="779818" y="217170"/>
                  </a:lnTo>
                  <a:lnTo>
                    <a:pt x="822731" y="163830"/>
                  </a:lnTo>
                  <a:lnTo>
                    <a:pt x="848207" y="175260"/>
                  </a:lnTo>
                  <a:lnTo>
                    <a:pt x="883043" y="184150"/>
                  </a:lnTo>
                  <a:lnTo>
                    <a:pt x="922134" y="185420"/>
                  </a:lnTo>
                  <a:lnTo>
                    <a:pt x="960412" y="173990"/>
                  </a:lnTo>
                  <a:lnTo>
                    <a:pt x="1076020" y="289560"/>
                  </a:lnTo>
                  <a:lnTo>
                    <a:pt x="1077671" y="290830"/>
                  </a:lnTo>
                  <a:lnTo>
                    <a:pt x="1079004" y="293370"/>
                  </a:lnTo>
                  <a:lnTo>
                    <a:pt x="1080020" y="294640"/>
                  </a:lnTo>
                  <a:lnTo>
                    <a:pt x="1080249" y="297180"/>
                  </a:lnTo>
                  <a:lnTo>
                    <a:pt x="1080808" y="298450"/>
                  </a:lnTo>
                  <a:lnTo>
                    <a:pt x="1081671" y="299720"/>
                  </a:lnTo>
                  <a:lnTo>
                    <a:pt x="1081951" y="300990"/>
                  </a:lnTo>
                  <a:lnTo>
                    <a:pt x="1082027" y="302260"/>
                  </a:lnTo>
                  <a:lnTo>
                    <a:pt x="1082078" y="309880"/>
                  </a:lnTo>
                  <a:lnTo>
                    <a:pt x="1082078" y="254685"/>
                  </a:lnTo>
                  <a:lnTo>
                    <a:pt x="1001890" y="173990"/>
                  </a:lnTo>
                  <a:lnTo>
                    <a:pt x="991793" y="163830"/>
                  </a:lnTo>
                  <a:lnTo>
                    <a:pt x="984211" y="156210"/>
                  </a:lnTo>
                  <a:lnTo>
                    <a:pt x="982954" y="154940"/>
                  </a:lnTo>
                  <a:lnTo>
                    <a:pt x="984110" y="153670"/>
                  </a:lnTo>
                  <a:lnTo>
                    <a:pt x="984948" y="152400"/>
                  </a:lnTo>
                  <a:lnTo>
                    <a:pt x="985989" y="148590"/>
                  </a:lnTo>
                  <a:lnTo>
                    <a:pt x="986155" y="147320"/>
                  </a:lnTo>
                  <a:lnTo>
                    <a:pt x="985786" y="143510"/>
                  </a:lnTo>
                  <a:lnTo>
                    <a:pt x="985253" y="140970"/>
                  </a:lnTo>
                  <a:lnTo>
                    <a:pt x="983526" y="138430"/>
                  </a:lnTo>
                  <a:lnTo>
                    <a:pt x="982383" y="135890"/>
                  </a:lnTo>
                  <a:lnTo>
                    <a:pt x="979538" y="134620"/>
                  </a:lnTo>
                  <a:lnTo>
                    <a:pt x="977950" y="133350"/>
                  </a:lnTo>
                  <a:lnTo>
                    <a:pt x="974407" y="132080"/>
                  </a:lnTo>
                  <a:lnTo>
                    <a:pt x="967066" y="132080"/>
                  </a:lnTo>
                  <a:lnTo>
                    <a:pt x="963676" y="133350"/>
                  </a:lnTo>
                  <a:lnTo>
                    <a:pt x="962190" y="134620"/>
                  </a:lnTo>
                  <a:lnTo>
                    <a:pt x="960920" y="135890"/>
                  </a:lnTo>
                  <a:lnTo>
                    <a:pt x="921791" y="156210"/>
                  </a:lnTo>
                  <a:lnTo>
                    <a:pt x="877684" y="153670"/>
                  </a:lnTo>
                  <a:lnTo>
                    <a:pt x="841502" y="140970"/>
                  </a:lnTo>
                  <a:lnTo>
                    <a:pt x="826135" y="133350"/>
                  </a:lnTo>
                  <a:lnTo>
                    <a:pt x="823061" y="132080"/>
                  </a:lnTo>
                  <a:lnTo>
                    <a:pt x="819772" y="130810"/>
                  </a:lnTo>
                  <a:lnTo>
                    <a:pt x="812800" y="132080"/>
                  </a:lnTo>
                  <a:lnTo>
                    <a:pt x="809929" y="134620"/>
                  </a:lnTo>
                  <a:lnTo>
                    <a:pt x="807694" y="137160"/>
                  </a:lnTo>
                  <a:lnTo>
                    <a:pt x="748563" y="209550"/>
                  </a:lnTo>
                  <a:lnTo>
                    <a:pt x="745363" y="212090"/>
                  </a:lnTo>
                  <a:lnTo>
                    <a:pt x="737895" y="215900"/>
                  </a:lnTo>
                  <a:lnTo>
                    <a:pt x="733920" y="217170"/>
                  </a:lnTo>
                  <a:lnTo>
                    <a:pt x="721347" y="217170"/>
                  </a:lnTo>
                  <a:lnTo>
                    <a:pt x="694296" y="184150"/>
                  </a:lnTo>
                  <a:lnTo>
                    <a:pt x="694690" y="180340"/>
                  </a:lnTo>
                  <a:lnTo>
                    <a:pt x="785749" y="62230"/>
                  </a:lnTo>
                  <a:lnTo>
                    <a:pt x="816559" y="35560"/>
                  </a:lnTo>
                  <a:lnTo>
                    <a:pt x="823595" y="31750"/>
                  </a:lnTo>
                  <a:lnTo>
                    <a:pt x="845820" y="27940"/>
                  </a:lnTo>
                  <a:lnTo>
                    <a:pt x="933018" y="27940"/>
                  </a:lnTo>
                  <a:lnTo>
                    <a:pt x="970000" y="39370"/>
                  </a:lnTo>
                  <a:lnTo>
                    <a:pt x="1016012" y="92710"/>
                  </a:lnTo>
                  <a:lnTo>
                    <a:pt x="1018921" y="96520"/>
                  </a:lnTo>
                  <a:lnTo>
                    <a:pt x="1022769" y="99060"/>
                  </a:lnTo>
                  <a:lnTo>
                    <a:pt x="1121156" y="99060"/>
                  </a:lnTo>
                  <a:lnTo>
                    <a:pt x="1121156" y="69850"/>
                  </a:lnTo>
                  <a:lnTo>
                    <a:pt x="1034694" y="69850"/>
                  </a:lnTo>
                  <a:lnTo>
                    <a:pt x="1010196" y="38100"/>
                  </a:lnTo>
                  <a:lnTo>
                    <a:pt x="976020" y="8890"/>
                  </a:lnTo>
                  <a:lnTo>
                    <a:pt x="944206" y="0"/>
                  </a:lnTo>
                  <a:lnTo>
                    <a:pt x="835317" y="0"/>
                  </a:lnTo>
                  <a:lnTo>
                    <a:pt x="795985" y="12700"/>
                  </a:lnTo>
                  <a:lnTo>
                    <a:pt x="772185" y="33020"/>
                  </a:lnTo>
                  <a:lnTo>
                    <a:pt x="631418" y="33020"/>
                  </a:lnTo>
                  <a:lnTo>
                    <a:pt x="627748" y="34290"/>
                  </a:lnTo>
                  <a:lnTo>
                    <a:pt x="624827" y="38100"/>
                  </a:lnTo>
                  <a:lnTo>
                    <a:pt x="588975" y="80010"/>
                  </a:lnTo>
                  <a:lnTo>
                    <a:pt x="544791" y="80010"/>
                  </a:lnTo>
                  <a:lnTo>
                    <a:pt x="544791" y="77431"/>
                  </a:lnTo>
                  <a:lnTo>
                    <a:pt x="544131" y="74129"/>
                  </a:lnTo>
                  <a:lnTo>
                    <a:pt x="519747" y="49911"/>
                  </a:lnTo>
                  <a:lnTo>
                    <a:pt x="519747" y="79489"/>
                  </a:lnTo>
                  <a:lnTo>
                    <a:pt x="519747" y="329018"/>
                  </a:lnTo>
                  <a:lnTo>
                    <a:pt x="519023" y="330758"/>
                  </a:lnTo>
                  <a:lnTo>
                    <a:pt x="516128" y="333654"/>
                  </a:lnTo>
                  <a:lnTo>
                    <a:pt x="514388" y="334378"/>
                  </a:lnTo>
                  <a:lnTo>
                    <a:pt x="321208" y="334378"/>
                  </a:lnTo>
                  <a:lnTo>
                    <a:pt x="319468" y="333654"/>
                  </a:lnTo>
                  <a:lnTo>
                    <a:pt x="316572" y="330758"/>
                  </a:lnTo>
                  <a:lnTo>
                    <a:pt x="315849" y="329018"/>
                  </a:lnTo>
                  <a:lnTo>
                    <a:pt x="315849" y="79489"/>
                  </a:lnTo>
                  <a:lnTo>
                    <a:pt x="316572" y="77749"/>
                  </a:lnTo>
                  <a:lnTo>
                    <a:pt x="319468" y="74853"/>
                  </a:lnTo>
                  <a:lnTo>
                    <a:pt x="321208" y="74129"/>
                  </a:lnTo>
                  <a:lnTo>
                    <a:pt x="514388" y="74129"/>
                  </a:lnTo>
                  <a:lnTo>
                    <a:pt x="516128" y="74853"/>
                  </a:lnTo>
                  <a:lnTo>
                    <a:pt x="519023" y="77749"/>
                  </a:lnTo>
                  <a:lnTo>
                    <a:pt x="519747" y="79489"/>
                  </a:lnTo>
                  <a:lnTo>
                    <a:pt x="519747" y="49911"/>
                  </a:lnTo>
                  <a:lnTo>
                    <a:pt x="516636" y="49288"/>
                  </a:lnTo>
                  <a:lnTo>
                    <a:pt x="318960" y="49288"/>
                  </a:lnTo>
                  <a:lnTo>
                    <a:pt x="291833" y="72771"/>
                  </a:lnTo>
                  <a:lnTo>
                    <a:pt x="1244" y="72771"/>
                  </a:lnTo>
                  <a:lnTo>
                    <a:pt x="1244" y="97815"/>
                  </a:lnTo>
                  <a:lnTo>
                    <a:pt x="290804" y="97815"/>
                  </a:lnTo>
                  <a:lnTo>
                    <a:pt x="290804" y="318198"/>
                  </a:lnTo>
                  <a:lnTo>
                    <a:pt x="0" y="318198"/>
                  </a:lnTo>
                  <a:lnTo>
                    <a:pt x="0" y="343242"/>
                  </a:lnTo>
                  <a:lnTo>
                    <a:pt x="294805" y="343242"/>
                  </a:lnTo>
                  <a:lnTo>
                    <a:pt x="294932" y="343547"/>
                  </a:lnTo>
                  <a:lnTo>
                    <a:pt x="512330" y="359625"/>
                  </a:lnTo>
                  <a:lnTo>
                    <a:pt x="516636" y="359613"/>
                  </a:lnTo>
                  <a:lnTo>
                    <a:pt x="544017" y="335280"/>
                  </a:lnTo>
                  <a:lnTo>
                    <a:pt x="555205" y="335280"/>
                  </a:lnTo>
                  <a:lnTo>
                    <a:pt x="584149" y="363220"/>
                  </a:lnTo>
                  <a:lnTo>
                    <a:pt x="601865" y="367030"/>
                  </a:lnTo>
                  <a:lnTo>
                    <a:pt x="613664" y="364490"/>
                  </a:lnTo>
                  <a:lnTo>
                    <a:pt x="614641" y="370840"/>
                  </a:lnTo>
                  <a:lnTo>
                    <a:pt x="640143" y="401320"/>
                  </a:lnTo>
                  <a:lnTo>
                    <a:pt x="656945" y="406400"/>
                  </a:lnTo>
                  <a:lnTo>
                    <a:pt x="671156" y="406400"/>
                  </a:lnTo>
                  <a:lnTo>
                    <a:pt x="675220" y="405130"/>
                  </a:lnTo>
                  <a:lnTo>
                    <a:pt x="677164" y="412750"/>
                  </a:lnTo>
                  <a:lnTo>
                    <a:pt x="704824" y="441960"/>
                  </a:lnTo>
                  <a:lnTo>
                    <a:pt x="713955" y="444500"/>
                  </a:lnTo>
                  <a:lnTo>
                    <a:pt x="734275" y="444500"/>
                  </a:lnTo>
                  <a:lnTo>
                    <a:pt x="735939" y="450850"/>
                  </a:lnTo>
                  <a:lnTo>
                    <a:pt x="738441" y="457200"/>
                  </a:lnTo>
                  <a:lnTo>
                    <a:pt x="745947" y="468630"/>
                  </a:lnTo>
                  <a:lnTo>
                    <a:pt x="750798" y="472440"/>
                  </a:lnTo>
                  <a:lnTo>
                    <a:pt x="756145" y="477520"/>
                  </a:lnTo>
                  <a:lnTo>
                    <a:pt x="762012" y="480060"/>
                  </a:lnTo>
                  <a:lnTo>
                    <a:pt x="768388" y="482600"/>
                  </a:lnTo>
                  <a:lnTo>
                    <a:pt x="781710" y="485140"/>
                  </a:lnTo>
                  <a:lnTo>
                    <a:pt x="788416" y="485140"/>
                  </a:lnTo>
                  <a:lnTo>
                    <a:pt x="828598" y="461010"/>
                  </a:lnTo>
                  <a:lnTo>
                    <a:pt x="831392" y="455930"/>
                  </a:lnTo>
                  <a:lnTo>
                    <a:pt x="832789" y="453390"/>
                  </a:lnTo>
                  <a:lnTo>
                    <a:pt x="835202" y="445770"/>
                  </a:lnTo>
                  <a:lnTo>
                    <a:pt x="838377" y="447040"/>
                  </a:lnTo>
                  <a:lnTo>
                    <a:pt x="841667" y="448310"/>
                  </a:lnTo>
                  <a:lnTo>
                    <a:pt x="848487" y="449580"/>
                  </a:lnTo>
                  <a:lnTo>
                    <a:pt x="851941" y="449580"/>
                  </a:lnTo>
                  <a:lnTo>
                    <a:pt x="858926" y="450850"/>
                  </a:lnTo>
                  <a:lnTo>
                    <a:pt x="862393" y="449580"/>
                  </a:lnTo>
                  <a:lnTo>
                    <a:pt x="869251" y="448310"/>
                  </a:lnTo>
                  <a:lnTo>
                    <a:pt x="872578" y="447040"/>
                  </a:lnTo>
                  <a:lnTo>
                    <a:pt x="875792" y="445770"/>
                  </a:lnTo>
                  <a:lnTo>
                    <a:pt x="879017" y="444500"/>
                  </a:lnTo>
                  <a:lnTo>
                    <a:pt x="882053" y="443230"/>
                  </a:lnTo>
                  <a:lnTo>
                    <a:pt x="901636" y="421640"/>
                  </a:lnTo>
                  <a:lnTo>
                    <a:pt x="902373" y="420370"/>
                  </a:lnTo>
                  <a:lnTo>
                    <a:pt x="903516" y="416560"/>
                  </a:lnTo>
                  <a:lnTo>
                    <a:pt x="908291" y="419100"/>
                  </a:lnTo>
                  <a:lnTo>
                    <a:pt x="913422" y="421640"/>
                  </a:lnTo>
                  <a:lnTo>
                    <a:pt x="924407" y="424180"/>
                  </a:lnTo>
                  <a:lnTo>
                    <a:pt x="929944" y="424180"/>
                  </a:lnTo>
                  <a:lnTo>
                    <a:pt x="965073" y="408940"/>
                  </a:lnTo>
                  <a:lnTo>
                    <a:pt x="969378" y="405130"/>
                  </a:lnTo>
                  <a:lnTo>
                    <a:pt x="975067" y="394970"/>
                  </a:lnTo>
                  <a:lnTo>
                    <a:pt x="975791" y="393700"/>
                  </a:lnTo>
                  <a:lnTo>
                    <a:pt x="977900" y="387350"/>
                  </a:lnTo>
                  <a:lnTo>
                    <a:pt x="981265" y="388620"/>
                  </a:lnTo>
                  <a:lnTo>
                    <a:pt x="984732" y="389890"/>
                  </a:lnTo>
                  <a:lnTo>
                    <a:pt x="991882" y="391160"/>
                  </a:lnTo>
                  <a:lnTo>
                    <a:pt x="995476" y="391160"/>
                  </a:lnTo>
                  <a:lnTo>
                    <a:pt x="1002690" y="389890"/>
                  </a:lnTo>
                  <a:lnTo>
                    <a:pt x="1006233" y="389890"/>
                  </a:lnTo>
                  <a:lnTo>
                    <a:pt x="1038212" y="368300"/>
                  </a:lnTo>
                  <a:lnTo>
                    <a:pt x="1045006" y="351790"/>
                  </a:lnTo>
                  <a:lnTo>
                    <a:pt x="1058595" y="354330"/>
                  </a:lnTo>
                  <a:lnTo>
                    <a:pt x="1065453" y="354330"/>
                  </a:lnTo>
                  <a:lnTo>
                    <a:pt x="1072362" y="353060"/>
                  </a:lnTo>
                  <a:lnTo>
                    <a:pt x="1075702" y="351790"/>
                  </a:lnTo>
                  <a:lnTo>
                    <a:pt x="1079055" y="350520"/>
                  </a:lnTo>
                  <a:lnTo>
                    <a:pt x="1109433" y="316230"/>
                  </a:lnTo>
                  <a:lnTo>
                    <a:pt x="1110780" y="307340"/>
                  </a:lnTo>
                  <a:lnTo>
                    <a:pt x="1124267" y="307340"/>
                  </a:lnTo>
                  <a:lnTo>
                    <a:pt x="1343685" y="325818"/>
                  </a:lnTo>
                  <a:lnTo>
                    <a:pt x="1348003" y="325805"/>
                  </a:lnTo>
                  <a:lnTo>
                    <a:pt x="1373682" y="305676"/>
                  </a:lnTo>
                  <a:lnTo>
                    <a:pt x="1660779" y="305676"/>
                  </a:lnTo>
                  <a:lnTo>
                    <a:pt x="1660779" y="280631"/>
                  </a:lnTo>
                  <a:lnTo>
                    <a:pt x="1376121" y="280631"/>
                  </a:lnTo>
                  <a:lnTo>
                    <a:pt x="1376121" y="60248"/>
                  </a:lnTo>
                  <a:lnTo>
                    <a:pt x="1662036" y="60248"/>
                  </a:lnTo>
                  <a:lnTo>
                    <a:pt x="1662036" y="35217"/>
                  </a:lnTo>
                  <a:close/>
                </a:path>
              </a:pathLst>
            </a:custGeom>
            <a:solidFill>
              <a:srgbClr val="FFFFFF"/>
            </a:solidFill>
          </p:spPr>
          <p:txBody>
            <a:bodyPr wrap="square" lIns="0" tIns="0" rIns="0" bIns="0" rtlCol="0"/>
            <a:lstStyle/>
            <a:p>
              <a:endParaRPr sz="2118"/>
            </a:p>
          </p:txBody>
        </p:sp>
      </p:grpSp>
      <p:sp>
        <p:nvSpPr>
          <p:cNvPr id="144" name="object 144"/>
          <p:cNvSpPr txBox="1"/>
          <p:nvPr/>
        </p:nvSpPr>
        <p:spPr>
          <a:xfrm>
            <a:off x="1070908" y="5907074"/>
            <a:ext cx="10583209" cy="583863"/>
          </a:xfrm>
          <a:prstGeom prst="rect">
            <a:avLst/>
          </a:prstGeom>
        </p:spPr>
        <p:txBody>
          <a:bodyPr vert="horz" wrap="square" lIns="0" tIns="13447" rIns="0" bIns="0" rtlCol="0">
            <a:spAutoFit/>
          </a:bodyPr>
          <a:lstStyle/>
          <a:p>
            <a:pPr marL="14942">
              <a:spcBef>
                <a:spcPts val="106"/>
              </a:spcBef>
            </a:pPr>
            <a:r>
              <a:rPr sz="3706" spc="-134" dirty="0">
                <a:solidFill>
                  <a:srgbClr val="F53245"/>
                </a:solidFill>
                <a:latin typeface="Arial Black" panose="020B0A04020102020204" pitchFamily="34" charset="0"/>
                <a:cs typeface="Arial"/>
              </a:rPr>
              <a:t>1</a:t>
            </a:r>
            <a:r>
              <a:rPr lang="fi-FI" sz="3706" spc="-134">
                <a:solidFill>
                  <a:srgbClr val="F53245"/>
                </a:solidFill>
                <a:latin typeface="Arial Black" panose="020B0A04020102020204" pitchFamily="34" charset="0"/>
                <a:cs typeface="Arial"/>
              </a:rPr>
              <a:t>03</a:t>
            </a:r>
            <a:r>
              <a:rPr sz="3706" spc="-18">
                <a:solidFill>
                  <a:srgbClr val="F53245"/>
                </a:solidFill>
                <a:latin typeface="Arial Black" panose="020B0A04020102020204" pitchFamily="34" charset="0"/>
                <a:cs typeface="Arial"/>
              </a:rPr>
              <a:t> </a:t>
            </a:r>
            <a:r>
              <a:rPr sz="3706" spc="341" dirty="0">
                <a:solidFill>
                  <a:srgbClr val="F53245"/>
                </a:solidFill>
                <a:latin typeface="Arial Black" panose="020B0A04020102020204" pitchFamily="34" charset="0"/>
                <a:cs typeface="Arial"/>
              </a:rPr>
              <a:t>HANKETTA</a:t>
            </a:r>
            <a:r>
              <a:rPr sz="3706" dirty="0">
                <a:solidFill>
                  <a:srgbClr val="F53245"/>
                </a:solidFill>
                <a:latin typeface="Arial Black" panose="020B0A04020102020204" pitchFamily="34" charset="0"/>
                <a:cs typeface="Arial"/>
              </a:rPr>
              <a:t> </a:t>
            </a:r>
            <a:r>
              <a:rPr sz="3706" spc="465" dirty="0">
                <a:solidFill>
                  <a:srgbClr val="F53245"/>
                </a:solidFill>
                <a:latin typeface="Arial Black" panose="020B0A04020102020204" pitchFamily="34" charset="0"/>
                <a:cs typeface="Arial"/>
              </a:rPr>
              <a:t>MAAILMALLA</a:t>
            </a:r>
            <a:endParaRPr sz="3706" dirty="0">
              <a:latin typeface="Arial Black" panose="020B0A04020102020204" pitchFamily="34" charset="0"/>
              <a:cs typeface="Arial"/>
            </a:endParaRPr>
          </a:p>
        </p:txBody>
      </p:sp>
      <p:sp>
        <p:nvSpPr>
          <p:cNvPr id="145" name="object 145"/>
          <p:cNvSpPr txBox="1"/>
          <p:nvPr/>
        </p:nvSpPr>
        <p:spPr>
          <a:xfrm>
            <a:off x="1851388" y="2460225"/>
            <a:ext cx="1644848" cy="373413"/>
          </a:xfrm>
          <a:prstGeom prst="rect">
            <a:avLst/>
          </a:prstGeom>
        </p:spPr>
        <p:txBody>
          <a:bodyPr vert="horz" wrap="square" lIns="0" tIns="20171" rIns="0" bIns="0" rtlCol="0">
            <a:spAutoFit/>
          </a:bodyPr>
          <a:lstStyle/>
          <a:p>
            <a:pPr marL="14942" algn="ctr">
              <a:spcBef>
                <a:spcPts val="159"/>
              </a:spcBef>
            </a:pPr>
            <a:r>
              <a:rPr lang="fi-FI" sz="2294" b="1" spc="-141" dirty="0">
                <a:solidFill>
                  <a:srgbClr val="F53245"/>
                </a:solidFill>
                <a:latin typeface="Arial Black" panose="020B0A04020102020204" pitchFamily="34" charset="0"/>
                <a:cs typeface="Arial" panose="020B0604020202020204" pitchFamily="34" charset="0"/>
              </a:rPr>
              <a:t>2 978</a:t>
            </a:r>
            <a:r>
              <a:rPr sz="2294" b="1" spc="-176" dirty="0">
                <a:solidFill>
                  <a:srgbClr val="F53245"/>
                </a:solidFill>
                <a:latin typeface="Arial Black" panose="020B0A04020102020204" pitchFamily="34" charset="0"/>
                <a:cs typeface="Arial" panose="020B0604020202020204" pitchFamily="34" charset="0"/>
              </a:rPr>
              <a:t> </a:t>
            </a:r>
            <a:r>
              <a:rPr sz="2294" b="1" spc="-29" dirty="0">
                <a:solidFill>
                  <a:srgbClr val="F53245"/>
                </a:solidFill>
                <a:latin typeface="Arial Black" panose="020B0A04020102020204" pitchFamily="34" charset="0"/>
                <a:cs typeface="Arial" panose="020B0604020202020204" pitchFamily="34" charset="0"/>
              </a:rPr>
              <a:t>000</a:t>
            </a:r>
            <a:endParaRPr sz="2294" b="1" dirty="0">
              <a:latin typeface="Arial Black" panose="020B0A04020102020204" pitchFamily="34" charset="0"/>
              <a:cs typeface="Arial" panose="020B0604020202020204" pitchFamily="34" charset="0"/>
            </a:endParaRPr>
          </a:p>
        </p:txBody>
      </p:sp>
      <p:sp>
        <p:nvSpPr>
          <p:cNvPr id="147" name="object 147"/>
          <p:cNvSpPr txBox="1">
            <a:spLocks noGrp="1"/>
          </p:cNvSpPr>
          <p:nvPr>
            <p:ph type="title"/>
          </p:nvPr>
        </p:nvSpPr>
        <p:spPr>
          <a:xfrm>
            <a:off x="8909983" y="1720711"/>
            <a:ext cx="1373931" cy="1074288"/>
          </a:xfrm>
          <a:prstGeom prst="rect">
            <a:avLst/>
          </a:prstGeom>
        </p:spPr>
        <p:txBody>
          <a:bodyPr vert="horz" wrap="square" lIns="0" tIns="14941" rIns="0" bIns="0" rtlCol="0" anchor="b">
            <a:spAutoFit/>
          </a:bodyPr>
          <a:lstStyle/>
          <a:p>
            <a:pPr marL="14942">
              <a:lnSpc>
                <a:spcPct val="100000"/>
              </a:lnSpc>
              <a:spcBef>
                <a:spcPts val="118"/>
              </a:spcBef>
            </a:pPr>
            <a:r>
              <a:rPr sz="6883" spc="299" dirty="0">
                <a:solidFill>
                  <a:srgbClr val="F53245"/>
                </a:solidFill>
                <a:latin typeface="Arial Black" panose="020B0A04020102020204" pitchFamily="34" charset="0"/>
                <a:cs typeface="Lucida Sans"/>
              </a:rPr>
              <a:t>16</a:t>
            </a:r>
            <a:endParaRPr sz="6883" dirty="0">
              <a:latin typeface="Arial Black" panose="020B0A04020102020204" pitchFamily="34" charset="0"/>
              <a:cs typeface="Lucida Sans"/>
            </a:endParaRPr>
          </a:p>
        </p:txBody>
      </p:sp>
      <p:sp>
        <p:nvSpPr>
          <p:cNvPr id="148" name="object 148"/>
          <p:cNvSpPr txBox="1"/>
          <p:nvPr/>
        </p:nvSpPr>
        <p:spPr>
          <a:xfrm>
            <a:off x="7632361" y="4491669"/>
            <a:ext cx="2708929" cy="1119387"/>
          </a:xfrm>
          <a:prstGeom prst="rect">
            <a:avLst/>
          </a:prstGeom>
        </p:spPr>
        <p:txBody>
          <a:bodyPr vert="horz" wrap="square" lIns="0" tIns="20171" rIns="0" bIns="0" rtlCol="0">
            <a:spAutoFit/>
          </a:bodyPr>
          <a:lstStyle/>
          <a:p>
            <a:pPr marL="95626" algn="ctr">
              <a:spcBef>
                <a:spcPts val="159"/>
              </a:spcBef>
            </a:pPr>
            <a:r>
              <a:rPr lang="fi-FI" sz="1882" dirty="0">
                <a:solidFill>
                  <a:srgbClr val="F53245"/>
                </a:solidFill>
                <a:latin typeface="Arial Black" panose="020B0A04020102020204" pitchFamily="34" charset="0"/>
                <a:cs typeface="Verdana"/>
              </a:rPr>
              <a:t>80</a:t>
            </a:r>
            <a:r>
              <a:rPr sz="1882" dirty="0">
                <a:solidFill>
                  <a:srgbClr val="F53245"/>
                </a:solidFill>
                <a:latin typeface="Arial Black" panose="020B0A04020102020204" pitchFamily="34" charset="0"/>
                <a:cs typeface="Verdana"/>
              </a:rPr>
              <a:t> </a:t>
            </a:r>
            <a:r>
              <a:rPr sz="1412" dirty="0">
                <a:solidFill>
                  <a:srgbClr val="F53245"/>
                </a:solidFill>
                <a:latin typeface="Arial Black" panose="020B0A04020102020204" pitchFamily="34" charset="0"/>
                <a:cs typeface="Arial"/>
              </a:rPr>
              <a:t>KOTIMAA</a:t>
            </a:r>
            <a:r>
              <a:rPr lang="fi-FI" sz="1412" dirty="0">
                <a:solidFill>
                  <a:srgbClr val="F53245"/>
                </a:solidFill>
                <a:latin typeface="Arial Black" panose="020B0A04020102020204" pitchFamily="34" charset="0"/>
                <a:cs typeface="Arial"/>
              </a:rPr>
              <a:t>NTYÖSSÄ</a:t>
            </a:r>
            <a:endParaRPr sz="1412" dirty="0">
              <a:latin typeface="Arial Black" panose="020B0A04020102020204" pitchFamily="34" charset="0"/>
              <a:cs typeface="Arial"/>
            </a:endParaRPr>
          </a:p>
          <a:p>
            <a:pPr marL="90396" algn="ctr">
              <a:spcBef>
                <a:spcPts val="94"/>
              </a:spcBef>
              <a:tabLst>
                <a:tab pos="605133" algn="l"/>
              </a:tabLst>
            </a:pPr>
            <a:r>
              <a:rPr lang="fi-FI" sz="1882" dirty="0">
                <a:solidFill>
                  <a:srgbClr val="F53245"/>
                </a:solidFill>
                <a:latin typeface="Arial Black" panose="020B0A04020102020204" pitchFamily="34" charset="0"/>
                <a:cs typeface="Verdana"/>
              </a:rPr>
              <a:t>55 </a:t>
            </a:r>
            <a:r>
              <a:rPr sz="1412" dirty="0">
                <a:solidFill>
                  <a:srgbClr val="F53245"/>
                </a:solidFill>
                <a:latin typeface="Arial Black" panose="020B0A04020102020204" pitchFamily="34" charset="0"/>
                <a:cs typeface="Arial"/>
              </a:rPr>
              <a:t>ULKO</a:t>
            </a:r>
            <a:r>
              <a:rPr lang="fi-FI" sz="1412" dirty="0">
                <a:solidFill>
                  <a:srgbClr val="F53245"/>
                </a:solidFill>
                <a:latin typeface="Arial Black" panose="020B0A04020102020204" pitchFamily="34" charset="0"/>
                <a:cs typeface="Arial"/>
              </a:rPr>
              <a:t>MAANTYÖSSÄ</a:t>
            </a:r>
            <a:endParaRPr sz="1412" dirty="0">
              <a:latin typeface="Arial Black" panose="020B0A04020102020204" pitchFamily="34" charset="0"/>
              <a:cs typeface="Arial"/>
            </a:endParaRPr>
          </a:p>
          <a:p>
            <a:pPr marL="319002" marR="5977" indent="-304806" algn="ctr"/>
            <a:r>
              <a:rPr lang="fi-FI" sz="1882" dirty="0">
                <a:solidFill>
                  <a:srgbClr val="F53245"/>
                </a:solidFill>
                <a:latin typeface="Arial Black" panose="020B0A04020102020204" pitchFamily="34" charset="0"/>
                <a:cs typeface="Verdana"/>
              </a:rPr>
              <a:t>837</a:t>
            </a:r>
            <a:r>
              <a:rPr sz="1882" dirty="0">
                <a:solidFill>
                  <a:srgbClr val="F53245"/>
                </a:solidFill>
                <a:latin typeface="Arial Black" panose="020B0A04020102020204" pitchFamily="34" charset="0"/>
                <a:cs typeface="Verdana"/>
              </a:rPr>
              <a:t> </a:t>
            </a:r>
            <a:r>
              <a:rPr sz="1412" dirty="0">
                <a:solidFill>
                  <a:srgbClr val="F53245"/>
                </a:solidFill>
                <a:latin typeface="Arial Black" panose="020B0A04020102020204" pitchFamily="34" charset="0"/>
                <a:cs typeface="Arial"/>
              </a:rPr>
              <a:t>PAIKALLISTA TYÖNTEKIJÄÄ</a:t>
            </a:r>
            <a:endParaRPr sz="1412" dirty="0">
              <a:latin typeface="Arial Black" panose="020B0A04020102020204" pitchFamily="34" charset="0"/>
              <a:cs typeface="Arial"/>
            </a:endParaRPr>
          </a:p>
        </p:txBody>
      </p:sp>
      <p:pic>
        <p:nvPicPr>
          <p:cNvPr id="149" name="object 149"/>
          <p:cNvPicPr/>
          <p:nvPr/>
        </p:nvPicPr>
        <p:blipFill>
          <a:blip r:embed="rId79" cstate="print"/>
          <a:stretch>
            <a:fillRect/>
          </a:stretch>
        </p:blipFill>
        <p:spPr>
          <a:xfrm>
            <a:off x="10096499" y="190501"/>
            <a:ext cx="1762125" cy="685799"/>
          </a:xfrm>
          <a:prstGeom prst="rect">
            <a:avLst/>
          </a:prstGeom>
        </p:spPr>
      </p:pic>
      <p:sp>
        <p:nvSpPr>
          <p:cNvPr id="150" name="Tekstiruutu 149">
            <a:extLst>
              <a:ext uri="{FF2B5EF4-FFF2-40B4-BE49-F238E27FC236}">
                <a16:creationId xmlns:a16="http://schemas.microsoft.com/office/drawing/2014/main" id="{5CCB12BC-C9F3-D482-16CD-B64EF62FD889}"/>
              </a:ext>
            </a:extLst>
          </p:cNvPr>
          <p:cNvSpPr txBox="1"/>
          <p:nvPr/>
        </p:nvSpPr>
        <p:spPr>
          <a:xfrm>
            <a:off x="4598310" y="3596406"/>
            <a:ext cx="2703278" cy="816506"/>
          </a:xfrm>
          <a:prstGeom prst="rect">
            <a:avLst/>
          </a:prstGeom>
          <a:noFill/>
        </p:spPr>
        <p:txBody>
          <a:bodyPr wrap="square" rtlCol="0">
            <a:spAutoFit/>
          </a:bodyPr>
          <a:lstStyle/>
          <a:p>
            <a:pPr algn="ctr"/>
            <a:r>
              <a:rPr lang="fi-FI" sz="2353" b="1" dirty="0">
                <a:solidFill>
                  <a:schemeClr val="bg1"/>
                </a:solidFill>
                <a:latin typeface="Arial Black" panose="020B0A04020102020204" pitchFamily="34" charset="0"/>
                <a:cs typeface="Arial" panose="020B0604020202020204" pitchFamily="34" charset="0"/>
              </a:rPr>
              <a:t>LÄHES </a:t>
            </a:r>
            <a:r>
              <a:rPr lang="fi-FI" sz="4706" b="1" dirty="0">
                <a:solidFill>
                  <a:schemeClr val="bg1"/>
                </a:solidFill>
                <a:latin typeface="Arial Black" panose="020B0A04020102020204" pitchFamily="34" charset="0"/>
                <a:cs typeface="Arial" panose="020B0604020202020204" pitchFamily="34" charset="0"/>
              </a:rPr>
              <a:t>100</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descr="Kuva, joka sisältää kohteen piha-, vaate, taivas, henkilö&#10;&#10;Tekoälyllä luotu sisältö voi olla virheellistä.">
            <a:extLst>
              <a:ext uri="{FF2B5EF4-FFF2-40B4-BE49-F238E27FC236}">
                <a16:creationId xmlns:a16="http://schemas.microsoft.com/office/drawing/2014/main" id="{D2D1A226-9F64-07BB-E3A8-034AB8093144}"/>
              </a:ext>
            </a:extLst>
          </p:cNvPr>
          <p:cNvPicPr>
            <a:picLocks noChangeAspect="1"/>
          </p:cNvPicPr>
          <p:nvPr/>
        </p:nvPicPr>
        <p:blipFill>
          <a:blip r:embed="rId3">
            <a:extLst>
              <a:ext uri="{28A0092B-C50C-407E-A947-70E740481C1C}">
                <a14:useLocalDpi xmlns:a14="http://schemas.microsoft.com/office/drawing/2010/main" val="0"/>
              </a:ext>
            </a:extLst>
          </a:blip>
          <a:srcRect t="23221"/>
          <a:stretch>
            <a:fillRect/>
          </a:stretch>
        </p:blipFill>
        <p:spPr>
          <a:xfrm>
            <a:off x="0" y="-1"/>
            <a:ext cx="12192000" cy="7027677"/>
          </a:xfrm>
          <a:prstGeom prst="rect">
            <a:avLst/>
          </a:prstGeom>
        </p:spPr>
      </p:pic>
      <p:sp>
        <p:nvSpPr>
          <p:cNvPr id="9" name="Tekstiruutu 8">
            <a:extLst>
              <a:ext uri="{FF2B5EF4-FFF2-40B4-BE49-F238E27FC236}">
                <a16:creationId xmlns:a16="http://schemas.microsoft.com/office/drawing/2014/main" id="{8352E202-5486-ED52-7C74-A87005153D1A}"/>
              </a:ext>
            </a:extLst>
          </p:cNvPr>
          <p:cNvSpPr txBox="1"/>
          <p:nvPr/>
        </p:nvSpPr>
        <p:spPr>
          <a:xfrm>
            <a:off x="529590" y="6322681"/>
            <a:ext cx="7651242" cy="369332"/>
          </a:xfrm>
          <a:prstGeom prst="rect">
            <a:avLst/>
          </a:prstGeom>
          <a:noFill/>
          <a:effectLst>
            <a:outerShdw blurRad="50800" dist="38100" dir="5400000" algn="ctr" rotWithShape="0">
              <a:schemeClr val="tx1">
                <a:alpha val="59000"/>
              </a:schemeClr>
            </a:outerShdw>
          </a:effectLst>
        </p:spPr>
        <p:txBody>
          <a:bodyPr wrap="square">
            <a:spAutoFit/>
          </a:bodyPr>
          <a:lstStyle/>
          <a:p>
            <a:r>
              <a:rPr lang="fi-FI" b="1" dirty="0">
                <a:solidFill>
                  <a:schemeClr val="bg1"/>
                </a:solidFill>
              </a:rPr>
              <a:t>Kristitty </a:t>
            </a:r>
            <a:r>
              <a:rPr lang="fi-FI" b="1" dirty="0" err="1">
                <a:solidFill>
                  <a:schemeClr val="bg1"/>
                </a:solidFill>
              </a:rPr>
              <a:t>Wiirawongphookin</a:t>
            </a:r>
            <a:r>
              <a:rPr lang="fi-FI" b="1" dirty="0">
                <a:solidFill>
                  <a:schemeClr val="bg1"/>
                </a:solidFill>
              </a:rPr>
              <a:t> perhe kuuluu Thaimaan </a:t>
            </a:r>
            <a:r>
              <a:rPr lang="fi-FI" b="1" dirty="0" err="1">
                <a:solidFill>
                  <a:schemeClr val="bg1"/>
                </a:solidFill>
              </a:rPr>
              <a:t>lua</a:t>
            </a:r>
            <a:r>
              <a:rPr lang="fi-FI" b="1" dirty="0">
                <a:solidFill>
                  <a:schemeClr val="bg1"/>
                </a:solidFill>
              </a:rPr>
              <a:t>-kansaan.</a:t>
            </a:r>
          </a:p>
        </p:txBody>
      </p:sp>
      <p:pic>
        <p:nvPicPr>
          <p:cNvPr id="2" name="Kuva 1" descr="Kuva, joka sisältää kohteen symboli, Grafiikka, kuvakaappaus, ympyrä&#10;&#10;Kuvaus luotu automaattisesti">
            <a:extLst>
              <a:ext uri="{FF2B5EF4-FFF2-40B4-BE49-F238E27FC236}">
                <a16:creationId xmlns:a16="http://schemas.microsoft.com/office/drawing/2014/main" id="{4A9D0E10-FDF3-FA61-91EF-588775F57CFF}"/>
              </a:ext>
            </a:extLst>
          </p:cNvPr>
          <p:cNvPicPr/>
          <p:nvPr/>
        </p:nvPicPr>
        <p:blipFill>
          <a:blip r:embed="rId4">
            <a:extLst>
              <a:ext uri="{28A0092B-C50C-407E-A947-70E740481C1C}">
                <a14:useLocalDpi xmlns:a14="http://schemas.microsoft.com/office/drawing/2010/main" val="0"/>
              </a:ext>
            </a:extLst>
          </a:blip>
          <a:stretch>
            <a:fillRect/>
          </a:stretch>
        </p:blipFill>
        <p:spPr>
          <a:xfrm>
            <a:off x="10810612" y="5283200"/>
            <a:ext cx="968000" cy="1224147"/>
          </a:xfrm>
          <a:prstGeom prst="rect">
            <a:avLst/>
          </a:prstGeom>
        </p:spPr>
      </p:pic>
    </p:spTree>
    <p:extLst>
      <p:ext uri="{BB962C8B-B14F-4D97-AF65-F5344CB8AC3E}">
        <p14:creationId xmlns:p14="http://schemas.microsoft.com/office/powerpoint/2010/main" val="2805344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Kuva 10" descr="Kuva, joka sisältää kohteen musta, pimeys&#10;&#10;Kuvaus luotu automaattisesti">
            <a:extLst>
              <a:ext uri="{FF2B5EF4-FFF2-40B4-BE49-F238E27FC236}">
                <a16:creationId xmlns:a16="http://schemas.microsoft.com/office/drawing/2014/main" id="{4E83ECF9-C239-E1C7-3314-C04C09BEB070}"/>
              </a:ext>
            </a:extLst>
          </p:cNvPr>
          <p:cNvPicPr>
            <a:picLocks noChangeAspect="1"/>
          </p:cNvPicPr>
          <p:nvPr/>
        </p:nvPicPr>
        <p:blipFill>
          <a:blip r:embed="rId3">
            <a:extLst>
              <a:ext uri="{28A0092B-C50C-407E-A947-70E740481C1C}">
                <a14:useLocalDpi xmlns:a14="http://schemas.microsoft.com/office/drawing/2010/main" val="0"/>
              </a:ext>
            </a:extLst>
          </a:blip>
          <a:srcRect t="22969" b="19175"/>
          <a:stretch/>
        </p:blipFill>
        <p:spPr>
          <a:xfrm>
            <a:off x="1704427" y="1431399"/>
            <a:ext cx="5808493" cy="5168577"/>
          </a:xfrm>
          <a:prstGeom prst="rect">
            <a:avLst/>
          </a:prstGeom>
        </p:spPr>
      </p:pic>
      <p:sp>
        <p:nvSpPr>
          <p:cNvPr id="2" name="Otsikko 1">
            <a:extLst>
              <a:ext uri="{FF2B5EF4-FFF2-40B4-BE49-F238E27FC236}">
                <a16:creationId xmlns:a16="http://schemas.microsoft.com/office/drawing/2014/main" id="{076175C9-E451-A4DE-CAA4-7637FEB70FE6}"/>
              </a:ext>
            </a:extLst>
          </p:cNvPr>
          <p:cNvSpPr>
            <a:spLocks noGrp="1"/>
          </p:cNvSpPr>
          <p:nvPr>
            <p:ph type="title"/>
          </p:nvPr>
        </p:nvSpPr>
        <p:spPr>
          <a:xfrm>
            <a:off x="2629337" y="172822"/>
            <a:ext cx="8741230" cy="1009651"/>
          </a:xfrm>
        </p:spPr>
        <p:txBody>
          <a:bodyPr>
            <a:normAutofit/>
          </a:bodyPr>
          <a:lstStyle/>
          <a:p>
            <a:r>
              <a:rPr lang="fi-FI">
                <a:solidFill>
                  <a:schemeClr val="tx1"/>
                </a:solidFill>
              </a:rPr>
              <a:t>Mikä on teemakori?</a:t>
            </a:r>
          </a:p>
        </p:txBody>
      </p:sp>
      <p:sp>
        <p:nvSpPr>
          <p:cNvPr id="3" name="Sisällön paikkamerkki 2">
            <a:extLst>
              <a:ext uri="{FF2B5EF4-FFF2-40B4-BE49-F238E27FC236}">
                <a16:creationId xmlns:a16="http://schemas.microsoft.com/office/drawing/2014/main" id="{2869D73E-74A1-4149-2255-925522B95342}"/>
              </a:ext>
            </a:extLst>
          </p:cNvPr>
          <p:cNvSpPr>
            <a:spLocks noGrp="1"/>
          </p:cNvSpPr>
          <p:nvPr>
            <p:ph sz="half" idx="2"/>
          </p:nvPr>
        </p:nvSpPr>
        <p:spPr>
          <a:xfrm>
            <a:off x="7467699" y="2857445"/>
            <a:ext cx="3857996" cy="2569156"/>
          </a:xfrm>
        </p:spPr>
        <p:txBody>
          <a:bodyPr vert="horz" lIns="91440" tIns="45720" rIns="91440" bIns="45720" rtlCol="0" anchor="t">
            <a:normAutofit fontScale="92500" lnSpcReduction="10000"/>
          </a:bodyPr>
          <a:lstStyle/>
          <a:p>
            <a:pPr>
              <a:lnSpc>
                <a:spcPct val="120000"/>
              </a:lnSpc>
            </a:pPr>
            <a:r>
              <a:rPr lang="fi-FI" sz="2400" dirty="0"/>
              <a:t>Työmme maailmalla on jaettu kuuteen teemaan.</a:t>
            </a:r>
          </a:p>
          <a:p>
            <a:pPr>
              <a:lnSpc>
                <a:spcPct val="120000"/>
              </a:lnSpc>
            </a:pPr>
            <a:r>
              <a:rPr lang="fi-FI" sz="2400" dirty="0"/>
              <a:t>Koreissa on mukana työntekijöitä ja asiantuntijoita kotimaasta ja maailmalta.</a:t>
            </a:r>
          </a:p>
        </p:txBody>
      </p:sp>
      <p:sp>
        <p:nvSpPr>
          <p:cNvPr id="5" name="Dian numeron paikkamerkki 4">
            <a:extLst>
              <a:ext uri="{FF2B5EF4-FFF2-40B4-BE49-F238E27FC236}">
                <a16:creationId xmlns:a16="http://schemas.microsoft.com/office/drawing/2014/main" id="{AC4DD8C3-B47C-16BB-D472-387E9B2EE59A}"/>
              </a:ext>
            </a:extLst>
          </p:cNvPr>
          <p:cNvSpPr>
            <a:spLocks noGrp="1"/>
          </p:cNvSpPr>
          <p:nvPr>
            <p:ph type="sldNum" sz="quarter" idx="12"/>
          </p:nvPr>
        </p:nvSpPr>
        <p:spPr/>
        <p:txBody>
          <a:bodyPr/>
          <a:lstStyle/>
          <a:p>
            <a:fld id="{F6B37718-6688-4F18-A3A4-5BFEA6AE51A8}" type="slidenum">
              <a:rPr lang="fi-FI" smtClean="0"/>
              <a:t>5</a:t>
            </a:fld>
            <a:endParaRPr lang="fi-FI"/>
          </a:p>
        </p:txBody>
      </p:sp>
      <p:sp>
        <p:nvSpPr>
          <p:cNvPr id="20" name="Tekstiruutu 19">
            <a:extLst>
              <a:ext uri="{FF2B5EF4-FFF2-40B4-BE49-F238E27FC236}">
                <a16:creationId xmlns:a16="http://schemas.microsoft.com/office/drawing/2014/main" id="{1E854016-CB72-3327-F2FE-87D50D03EF29}"/>
              </a:ext>
            </a:extLst>
          </p:cNvPr>
          <p:cNvSpPr txBox="1"/>
          <p:nvPr/>
        </p:nvSpPr>
        <p:spPr>
          <a:xfrm>
            <a:off x="2610330" y="4534049"/>
            <a:ext cx="1170611" cy="892552"/>
          </a:xfrm>
          <a:prstGeom prst="rect">
            <a:avLst/>
          </a:prstGeom>
          <a:noFill/>
        </p:spPr>
        <p:txBody>
          <a:bodyPr wrap="square">
            <a:spAutoFit/>
          </a:bodyPr>
          <a:lstStyle/>
          <a:p>
            <a:pPr algn="ctr"/>
            <a:r>
              <a:rPr lang="fi-FI" b="1"/>
              <a:t>Hanke</a:t>
            </a:r>
          </a:p>
          <a:p>
            <a:pPr algn="ctr"/>
            <a:r>
              <a:rPr lang="fi-FI" sz="3200" b="1">
                <a:solidFill>
                  <a:srgbClr val="F53246"/>
                </a:solidFill>
              </a:rPr>
              <a:t>1</a:t>
            </a:r>
          </a:p>
        </p:txBody>
      </p:sp>
      <p:pic>
        <p:nvPicPr>
          <p:cNvPr id="24" name="Kuva 23">
            <a:extLst>
              <a:ext uri="{FF2B5EF4-FFF2-40B4-BE49-F238E27FC236}">
                <a16:creationId xmlns:a16="http://schemas.microsoft.com/office/drawing/2014/main" id="{F5A23046-F9ED-6019-354C-6F413C3AFADB}"/>
              </a:ext>
            </a:extLst>
          </p:cNvPr>
          <p:cNvPicPr>
            <a:picLocks noChangeAspect="1"/>
          </p:cNvPicPr>
          <p:nvPr/>
        </p:nvPicPr>
        <p:blipFill>
          <a:blip r:embed="rId4"/>
          <a:stretch>
            <a:fillRect/>
          </a:stretch>
        </p:blipFill>
        <p:spPr>
          <a:xfrm>
            <a:off x="4097394" y="3223199"/>
            <a:ext cx="853514" cy="962939"/>
          </a:xfrm>
          <a:prstGeom prst="rect">
            <a:avLst/>
          </a:prstGeom>
        </p:spPr>
      </p:pic>
      <p:sp>
        <p:nvSpPr>
          <p:cNvPr id="25" name="Tekstiruutu 24">
            <a:extLst>
              <a:ext uri="{FF2B5EF4-FFF2-40B4-BE49-F238E27FC236}">
                <a16:creationId xmlns:a16="http://schemas.microsoft.com/office/drawing/2014/main" id="{EAE537D0-8D19-883E-095B-7737C7203FD6}"/>
              </a:ext>
            </a:extLst>
          </p:cNvPr>
          <p:cNvSpPr txBox="1"/>
          <p:nvPr/>
        </p:nvSpPr>
        <p:spPr>
          <a:xfrm>
            <a:off x="5228128" y="4614158"/>
            <a:ext cx="1170611" cy="892552"/>
          </a:xfrm>
          <a:prstGeom prst="rect">
            <a:avLst/>
          </a:prstGeom>
          <a:noFill/>
        </p:spPr>
        <p:txBody>
          <a:bodyPr wrap="square">
            <a:spAutoFit/>
          </a:bodyPr>
          <a:lstStyle/>
          <a:p>
            <a:pPr algn="ctr"/>
            <a:r>
              <a:rPr lang="fi-FI" b="1"/>
              <a:t>Hanke</a:t>
            </a:r>
          </a:p>
          <a:p>
            <a:pPr algn="ctr"/>
            <a:r>
              <a:rPr lang="fi-FI" sz="3200" b="1">
                <a:solidFill>
                  <a:srgbClr val="F53246"/>
                </a:solidFill>
              </a:rPr>
              <a:t>3</a:t>
            </a:r>
          </a:p>
        </p:txBody>
      </p:sp>
      <p:sp>
        <p:nvSpPr>
          <p:cNvPr id="27" name="Tekstiruutu 26">
            <a:extLst>
              <a:ext uri="{FF2B5EF4-FFF2-40B4-BE49-F238E27FC236}">
                <a16:creationId xmlns:a16="http://schemas.microsoft.com/office/drawing/2014/main" id="{C1F2C5C2-A40B-4407-9004-7DFC9928E567}"/>
              </a:ext>
            </a:extLst>
          </p:cNvPr>
          <p:cNvSpPr txBox="1"/>
          <p:nvPr/>
        </p:nvSpPr>
        <p:spPr>
          <a:xfrm>
            <a:off x="3102681" y="5738647"/>
            <a:ext cx="2847871" cy="369332"/>
          </a:xfrm>
          <a:prstGeom prst="rect">
            <a:avLst/>
          </a:prstGeom>
          <a:noFill/>
          <a:ln>
            <a:solidFill>
              <a:schemeClr val="tx1"/>
            </a:solidFill>
          </a:ln>
        </p:spPr>
        <p:txBody>
          <a:bodyPr wrap="square">
            <a:spAutoFit/>
          </a:bodyPr>
          <a:lstStyle/>
          <a:p>
            <a:pPr algn="ctr"/>
            <a:r>
              <a:rPr lang="fi-FI"/>
              <a:t>Tuki seurakuntien työlle</a:t>
            </a:r>
          </a:p>
        </p:txBody>
      </p:sp>
      <p:sp>
        <p:nvSpPr>
          <p:cNvPr id="28" name="Tekstiruutu 27">
            <a:extLst>
              <a:ext uri="{FF2B5EF4-FFF2-40B4-BE49-F238E27FC236}">
                <a16:creationId xmlns:a16="http://schemas.microsoft.com/office/drawing/2014/main" id="{0603D7E2-8C09-4AF2-8407-4AABD809EE45}"/>
              </a:ext>
            </a:extLst>
          </p:cNvPr>
          <p:cNvSpPr txBox="1"/>
          <p:nvPr/>
        </p:nvSpPr>
        <p:spPr>
          <a:xfrm>
            <a:off x="3943443" y="4878226"/>
            <a:ext cx="1170611" cy="892552"/>
          </a:xfrm>
          <a:prstGeom prst="rect">
            <a:avLst/>
          </a:prstGeom>
          <a:noFill/>
        </p:spPr>
        <p:txBody>
          <a:bodyPr wrap="square">
            <a:spAutoFit/>
          </a:bodyPr>
          <a:lstStyle/>
          <a:p>
            <a:pPr algn="ctr"/>
            <a:r>
              <a:rPr lang="fi-FI" b="1"/>
              <a:t>Hanke</a:t>
            </a:r>
          </a:p>
          <a:p>
            <a:pPr algn="ctr"/>
            <a:r>
              <a:rPr lang="fi-FI" sz="3200" b="1">
                <a:solidFill>
                  <a:srgbClr val="F53246"/>
                </a:solidFill>
              </a:rPr>
              <a:t>2</a:t>
            </a:r>
          </a:p>
        </p:txBody>
      </p:sp>
      <p:pic>
        <p:nvPicPr>
          <p:cNvPr id="30" name="Kuva 29">
            <a:extLst>
              <a:ext uri="{FF2B5EF4-FFF2-40B4-BE49-F238E27FC236}">
                <a16:creationId xmlns:a16="http://schemas.microsoft.com/office/drawing/2014/main" id="{BE66A947-8621-18E7-8A5A-D45CE1A9EF43}"/>
              </a:ext>
            </a:extLst>
          </p:cNvPr>
          <p:cNvPicPr>
            <a:picLocks noChangeAspect="1"/>
          </p:cNvPicPr>
          <p:nvPr/>
        </p:nvPicPr>
        <p:blipFill>
          <a:blip r:embed="rId5"/>
          <a:stretch>
            <a:fillRect/>
          </a:stretch>
        </p:blipFill>
        <p:spPr>
          <a:xfrm>
            <a:off x="2845662" y="3127633"/>
            <a:ext cx="774924" cy="795471"/>
          </a:xfrm>
          <a:prstGeom prst="rect">
            <a:avLst/>
          </a:prstGeom>
        </p:spPr>
      </p:pic>
      <p:sp>
        <p:nvSpPr>
          <p:cNvPr id="31" name="Tekstiruutu 30">
            <a:extLst>
              <a:ext uri="{FF2B5EF4-FFF2-40B4-BE49-F238E27FC236}">
                <a16:creationId xmlns:a16="http://schemas.microsoft.com/office/drawing/2014/main" id="{EED5D88A-5558-A6E9-2AED-FCA310E998C3}"/>
              </a:ext>
            </a:extLst>
          </p:cNvPr>
          <p:cNvSpPr txBox="1"/>
          <p:nvPr/>
        </p:nvSpPr>
        <p:spPr>
          <a:xfrm>
            <a:off x="2329457" y="3877187"/>
            <a:ext cx="1745979" cy="461665"/>
          </a:xfrm>
          <a:prstGeom prst="rect">
            <a:avLst/>
          </a:prstGeom>
          <a:noFill/>
        </p:spPr>
        <p:txBody>
          <a:bodyPr wrap="square">
            <a:spAutoFit/>
          </a:bodyPr>
          <a:lstStyle/>
          <a:p>
            <a:pPr algn="ctr"/>
            <a:r>
              <a:rPr lang="fi-FI" sz="1200"/>
              <a:t>Asiantuntijat Suomessa</a:t>
            </a:r>
          </a:p>
        </p:txBody>
      </p:sp>
      <p:sp>
        <p:nvSpPr>
          <p:cNvPr id="32" name="Tekstiruutu 31">
            <a:extLst>
              <a:ext uri="{FF2B5EF4-FFF2-40B4-BE49-F238E27FC236}">
                <a16:creationId xmlns:a16="http://schemas.microsoft.com/office/drawing/2014/main" id="{B465BEBD-4B71-6A69-73E4-B95F9DC39297}"/>
              </a:ext>
            </a:extLst>
          </p:cNvPr>
          <p:cNvSpPr txBox="1"/>
          <p:nvPr/>
        </p:nvSpPr>
        <p:spPr>
          <a:xfrm>
            <a:off x="3586854" y="4193796"/>
            <a:ext cx="1745979" cy="233397"/>
          </a:xfrm>
          <a:prstGeom prst="rect">
            <a:avLst/>
          </a:prstGeom>
          <a:noFill/>
        </p:spPr>
        <p:txBody>
          <a:bodyPr wrap="square">
            <a:spAutoFit/>
          </a:bodyPr>
          <a:lstStyle/>
          <a:p>
            <a:pPr algn="ctr">
              <a:lnSpc>
                <a:spcPts val="1100"/>
              </a:lnSpc>
            </a:pPr>
            <a:r>
              <a:rPr lang="fi-FI" sz="1200"/>
              <a:t>Työntekijät alueella</a:t>
            </a:r>
          </a:p>
        </p:txBody>
      </p:sp>
      <p:pic>
        <p:nvPicPr>
          <p:cNvPr id="36" name="Kuva 35">
            <a:extLst>
              <a:ext uri="{FF2B5EF4-FFF2-40B4-BE49-F238E27FC236}">
                <a16:creationId xmlns:a16="http://schemas.microsoft.com/office/drawing/2014/main" id="{60717BC2-6F78-FFB9-6D04-F9EA72333DE5}"/>
              </a:ext>
            </a:extLst>
          </p:cNvPr>
          <p:cNvPicPr>
            <a:picLocks noChangeAspect="1"/>
          </p:cNvPicPr>
          <p:nvPr/>
        </p:nvPicPr>
        <p:blipFill>
          <a:blip r:embed="rId6"/>
          <a:stretch>
            <a:fillRect/>
          </a:stretch>
        </p:blipFill>
        <p:spPr>
          <a:xfrm>
            <a:off x="5663094" y="3107263"/>
            <a:ext cx="568820" cy="818250"/>
          </a:xfrm>
          <a:prstGeom prst="rect">
            <a:avLst/>
          </a:prstGeom>
        </p:spPr>
      </p:pic>
      <p:sp>
        <p:nvSpPr>
          <p:cNvPr id="37" name="Tekstiruutu 36">
            <a:extLst>
              <a:ext uri="{FF2B5EF4-FFF2-40B4-BE49-F238E27FC236}">
                <a16:creationId xmlns:a16="http://schemas.microsoft.com/office/drawing/2014/main" id="{CAF782E9-24AD-376C-3034-5B27D9FA6193}"/>
              </a:ext>
            </a:extLst>
          </p:cNvPr>
          <p:cNvSpPr txBox="1"/>
          <p:nvPr/>
        </p:nvSpPr>
        <p:spPr>
          <a:xfrm>
            <a:off x="5096690" y="3936955"/>
            <a:ext cx="1745979" cy="515526"/>
          </a:xfrm>
          <a:prstGeom prst="rect">
            <a:avLst/>
          </a:prstGeom>
          <a:noFill/>
        </p:spPr>
        <p:txBody>
          <a:bodyPr wrap="square">
            <a:spAutoFit/>
          </a:bodyPr>
          <a:lstStyle/>
          <a:p>
            <a:pPr algn="ctr">
              <a:lnSpc>
                <a:spcPts val="1100"/>
              </a:lnSpc>
            </a:pPr>
            <a:r>
              <a:rPr lang="fi-FI" sz="1200"/>
              <a:t>Pastori, diakoni tai muu paikallinen työntekijä </a:t>
            </a:r>
          </a:p>
        </p:txBody>
      </p:sp>
      <p:pic>
        <p:nvPicPr>
          <p:cNvPr id="7" name="Kuva 6" descr="Kuva, joka sisältää kohteen symboli, Grafiikka, kuvakaappaus, ympyrä&#10;&#10;Kuvaus luotu automaattisesti">
            <a:extLst>
              <a:ext uri="{FF2B5EF4-FFF2-40B4-BE49-F238E27FC236}">
                <a16:creationId xmlns:a16="http://schemas.microsoft.com/office/drawing/2014/main" id="{F66AFB87-519E-F176-BBA1-6702E3BB20CC}"/>
              </a:ext>
            </a:extLst>
          </p:cNvPr>
          <p:cNvPicPr/>
          <p:nvPr/>
        </p:nvPicPr>
        <p:blipFill>
          <a:blip r:embed="rId7">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spTree>
    <p:extLst>
      <p:ext uri="{BB962C8B-B14F-4D97-AF65-F5344CB8AC3E}">
        <p14:creationId xmlns:p14="http://schemas.microsoft.com/office/powerpoint/2010/main" val="3709552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687C9-17DF-494C-63F8-8314D3B9541E}"/>
            </a:ext>
          </a:extLst>
        </p:cNvPr>
        <p:cNvGrpSpPr/>
        <p:nvPr/>
      </p:nvGrpSpPr>
      <p:grpSpPr>
        <a:xfrm>
          <a:off x="0" y="0"/>
          <a:ext cx="0" cy="0"/>
          <a:chOff x="0" y="0"/>
          <a:chExt cx="0" cy="0"/>
        </a:xfrm>
      </p:grpSpPr>
      <p:sp>
        <p:nvSpPr>
          <p:cNvPr id="35" name="Suorakulmio 34">
            <a:extLst>
              <a:ext uri="{FF2B5EF4-FFF2-40B4-BE49-F238E27FC236}">
                <a16:creationId xmlns:a16="http://schemas.microsoft.com/office/drawing/2014/main" id="{8F8E292C-64EF-D2D7-61DE-BE9E96A4A3DA}"/>
              </a:ext>
            </a:extLst>
          </p:cNvPr>
          <p:cNvSpPr/>
          <p:nvPr/>
        </p:nvSpPr>
        <p:spPr>
          <a:xfrm>
            <a:off x="1965960" y="921140"/>
            <a:ext cx="8535106" cy="57834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kstiruutu 13">
            <a:extLst>
              <a:ext uri="{FF2B5EF4-FFF2-40B4-BE49-F238E27FC236}">
                <a16:creationId xmlns:a16="http://schemas.microsoft.com/office/drawing/2014/main" id="{A7FFC810-3595-5EB5-8483-563686FD70B2}"/>
              </a:ext>
            </a:extLst>
          </p:cNvPr>
          <p:cNvSpPr txBox="1"/>
          <p:nvPr/>
        </p:nvSpPr>
        <p:spPr>
          <a:xfrm>
            <a:off x="2300534" y="3240647"/>
            <a:ext cx="2299382" cy="584775"/>
          </a:xfrm>
          <a:prstGeom prst="rect">
            <a:avLst/>
          </a:prstGeom>
          <a:noFill/>
          <a:ln>
            <a:noFill/>
          </a:ln>
        </p:spPr>
        <p:txBody>
          <a:bodyPr wrap="square">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600" b="1"/>
              <a:t>Vahvat ja</a:t>
            </a:r>
          </a:p>
          <a:p>
            <a:pPr algn="ctr"/>
            <a:r>
              <a:rPr lang="fi-FI" sz="1600" b="1"/>
              <a:t>vaikuttavat kirkot</a:t>
            </a:r>
          </a:p>
        </p:txBody>
      </p:sp>
      <p:sp>
        <p:nvSpPr>
          <p:cNvPr id="9" name="Tekstiruutu 15">
            <a:extLst>
              <a:ext uri="{FF2B5EF4-FFF2-40B4-BE49-F238E27FC236}">
                <a16:creationId xmlns:a16="http://schemas.microsoft.com/office/drawing/2014/main" id="{C6861B91-527C-BA3E-9203-98402B8ECAE5}"/>
              </a:ext>
            </a:extLst>
          </p:cNvPr>
          <p:cNvSpPr txBox="1"/>
          <p:nvPr/>
        </p:nvSpPr>
        <p:spPr>
          <a:xfrm>
            <a:off x="4973338" y="3240646"/>
            <a:ext cx="2621834" cy="584775"/>
          </a:xfrm>
          <a:prstGeom prst="rect">
            <a:avLst/>
          </a:prstGeom>
          <a:noFill/>
        </p:spPr>
        <p:txBody>
          <a:bodyPr wrap="square">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600" b="1"/>
              <a:t>Teologinen koulutus</a:t>
            </a:r>
          </a:p>
          <a:p>
            <a:pPr algn="ctr"/>
            <a:r>
              <a:rPr lang="fi-FI" sz="1600" b="1"/>
              <a:t>ja johtajuus</a:t>
            </a:r>
          </a:p>
        </p:txBody>
      </p:sp>
      <p:sp>
        <p:nvSpPr>
          <p:cNvPr id="11" name="Tekstiruutu 21">
            <a:extLst>
              <a:ext uri="{FF2B5EF4-FFF2-40B4-BE49-F238E27FC236}">
                <a16:creationId xmlns:a16="http://schemas.microsoft.com/office/drawing/2014/main" id="{44A67323-B77C-F7A7-AD07-F1E253B45645}"/>
              </a:ext>
            </a:extLst>
          </p:cNvPr>
          <p:cNvSpPr txBox="1"/>
          <p:nvPr/>
        </p:nvSpPr>
        <p:spPr>
          <a:xfrm>
            <a:off x="2885581" y="6119835"/>
            <a:ext cx="1155461" cy="584775"/>
          </a:xfrm>
          <a:prstGeom prst="rect">
            <a:avLst/>
          </a:prstGeom>
          <a:noFill/>
        </p:spPr>
        <p:txBody>
          <a:bodyPr wrap="square">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600" b="1"/>
              <a:t>Lapset ja nuoret</a:t>
            </a:r>
          </a:p>
        </p:txBody>
      </p:sp>
      <p:sp>
        <p:nvSpPr>
          <p:cNvPr id="16" name="Tekstiruutu 17">
            <a:extLst>
              <a:ext uri="{FF2B5EF4-FFF2-40B4-BE49-F238E27FC236}">
                <a16:creationId xmlns:a16="http://schemas.microsoft.com/office/drawing/2014/main" id="{87CCB1F1-35AE-8028-E313-B8147A736F19}"/>
              </a:ext>
            </a:extLst>
          </p:cNvPr>
          <p:cNvSpPr txBox="1"/>
          <p:nvPr/>
        </p:nvSpPr>
        <p:spPr>
          <a:xfrm>
            <a:off x="7529570" y="3216213"/>
            <a:ext cx="2922232" cy="584775"/>
          </a:xfrm>
          <a:prstGeom prst="rect">
            <a:avLst/>
          </a:prstGeom>
          <a:noFill/>
        </p:spPr>
        <p:txBody>
          <a:bodyPr wrap="square">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600" b="1"/>
              <a:t>Diakonia ja</a:t>
            </a:r>
          </a:p>
          <a:p>
            <a:pPr algn="ctr"/>
            <a:r>
              <a:rPr lang="fi-FI" sz="1600" b="1"/>
              <a:t>hyvinvoivat perheet</a:t>
            </a:r>
          </a:p>
        </p:txBody>
      </p:sp>
      <p:sp>
        <p:nvSpPr>
          <p:cNvPr id="17" name="Tekstiruutu 21">
            <a:extLst>
              <a:ext uri="{FF2B5EF4-FFF2-40B4-BE49-F238E27FC236}">
                <a16:creationId xmlns:a16="http://schemas.microsoft.com/office/drawing/2014/main" id="{26A75E70-94BB-D95F-76B3-A95D412FE021}"/>
              </a:ext>
            </a:extLst>
          </p:cNvPr>
          <p:cNvSpPr txBox="1"/>
          <p:nvPr/>
        </p:nvSpPr>
        <p:spPr>
          <a:xfrm>
            <a:off x="5257163" y="6119835"/>
            <a:ext cx="1993351" cy="584775"/>
          </a:xfrm>
          <a:prstGeom prst="rect">
            <a:avLst/>
          </a:prstGeom>
          <a:noFill/>
        </p:spPr>
        <p:txBody>
          <a:bodyPr wrap="square">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600" b="1"/>
              <a:t>Kriisit ja katastrofit</a:t>
            </a:r>
          </a:p>
        </p:txBody>
      </p:sp>
      <p:sp>
        <p:nvSpPr>
          <p:cNvPr id="18" name="Tekstiruutu 17">
            <a:extLst>
              <a:ext uri="{FF2B5EF4-FFF2-40B4-BE49-F238E27FC236}">
                <a16:creationId xmlns:a16="http://schemas.microsoft.com/office/drawing/2014/main" id="{EFC1F6E6-3753-2C95-D5CD-8A00E675B863}"/>
              </a:ext>
            </a:extLst>
          </p:cNvPr>
          <p:cNvSpPr txBox="1"/>
          <p:nvPr/>
        </p:nvSpPr>
        <p:spPr>
          <a:xfrm>
            <a:off x="7718292" y="6119835"/>
            <a:ext cx="2610390" cy="584775"/>
          </a:xfrm>
          <a:prstGeom prst="rect">
            <a:avLst/>
          </a:prstGeom>
          <a:noFill/>
        </p:spPr>
        <p:txBody>
          <a:bodyPr wrap="square">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600" b="1" i="0" u="none" strike="noStrike">
                <a:effectLst/>
                <a:latin typeface="Arial" panose="020B0604020202020204" pitchFamily="34" charset="0"/>
              </a:rPr>
              <a:t>Yleisrahoitus sinne, missä tarve on suurin</a:t>
            </a:r>
            <a:r>
              <a:rPr lang="fi-FI" sz="1600" b="0" i="0">
                <a:effectLst/>
                <a:latin typeface="Arial" panose="020B0604020202020204" pitchFamily="34" charset="0"/>
              </a:rPr>
              <a:t>​</a:t>
            </a:r>
            <a:endParaRPr lang="fi-FI" sz="1600" b="1"/>
          </a:p>
        </p:txBody>
      </p:sp>
      <p:pic>
        <p:nvPicPr>
          <p:cNvPr id="15" name="Kuva 14" descr="Kuva, joka sisältää kohteen kuvakaappaus, Grafiikka, symboli, logo&#10;&#10;Tekoälyn generoima sisältö voi olla virheellistä.">
            <a:extLst>
              <a:ext uri="{FF2B5EF4-FFF2-40B4-BE49-F238E27FC236}">
                <a16:creationId xmlns:a16="http://schemas.microsoft.com/office/drawing/2014/main" id="{75804D08-5423-42E4-3CFD-01E8751EFD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3404" y="1060919"/>
            <a:ext cx="2121609" cy="2136529"/>
          </a:xfrm>
          <a:prstGeom prst="rect">
            <a:avLst/>
          </a:prstGeom>
        </p:spPr>
      </p:pic>
      <p:pic>
        <p:nvPicPr>
          <p:cNvPr id="20" name="Kuva 19" descr="Kuva, joka sisältää kohteen clipart, animaatio, Grafiikka, luonnos&#10;&#10;Tekoälyn generoima sisältö voi olla virheellistä.">
            <a:extLst>
              <a:ext uri="{FF2B5EF4-FFF2-40B4-BE49-F238E27FC236}">
                <a16:creationId xmlns:a16="http://schemas.microsoft.com/office/drawing/2014/main" id="{4233AB69-50BA-C759-DE82-D7F9A3C9C6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1818" y="3949089"/>
            <a:ext cx="2161603" cy="2176804"/>
          </a:xfrm>
          <a:prstGeom prst="rect">
            <a:avLst/>
          </a:prstGeom>
        </p:spPr>
      </p:pic>
      <p:pic>
        <p:nvPicPr>
          <p:cNvPr id="22" name="Kuva 21" descr="Kuva, joka sisältää kohteen clipart, Grafiikka, symboli, animaatio&#10;&#10;Tekoälyn generoima sisältö voi olla virheellistä.">
            <a:extLst>
              <a:ext uri="{FF2B5EF4-FFF2-40B4-BE49-F238E27FC236}">
                <a16:creationId xmlns:a16="http://schemas.microsoft.com/office/drawing/2014/main" id="{56C204D8-13D1-6B3E-DC97-5CD684B5CF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35958" y="1050292"/>
            <a:ext cx="2175058" cy="2190354"/>
          </a:xfrm>
          <a:prstGeom prst="rect">
            <a:avLst/>
          </a:prstGeom>
        </p:spPr>
      </p:pic>
      <p:pic>
        <p:nvPicPr>
          <p:cNvPr id="32" name="Kuva 31" descr="Kuva, joka sisältää kohteen animaatio, Grafiikka, clipart, Fontti&#10;&#10;Tekoälyn generoima sisältö voi olla virheellistä.">
            <a:extLst>
              <a:ext uri="{FF2B5EF4-FFF2-40B4-BE49-F238E27FC236}">
                <a16:creationId xmlns:a16="http://schemas.microsoft.com/office/drawing/2014/main" id="{B21E782D-5934-0B5B-BC61-4F19E6B4C5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42435" y="4003426"/>
            <a:ext cx="2132921" cy="2147920"/>
          </a:xfrm>
          <a:prstGeom prst="rect">
            <a:avLst/>
          </a:prstGeom>
        </p:spPr>
      </p:pic>
      <p:pic>
        <p:nvPicPr>
          <p:cNvPr id="34" name="Kuva 33" descr="Kuva, joka sisältää kohteen clipart, Grafiikka, symboli, logo&#10;&#10;Tekoälyn generoima sisältö voi olla virheellistä.">
            <a:extLst>
              <a:ext uri="{FF2B5EF4-FFF2-40B4-BE49-F238E27FC236}">
                <a16:creationId xmlns:a16="http://schemas.microsoft.com/office/drawing/2014/main" id="{F06AF4A2-DF04-8A35-AE77-C5D8261801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09884" y="3943032"/>
            <a:ext cx="2161603" cy="2176804"/>
          </a:xfrm>
          <a:prstGeom prst="rect">
            <a:avLst/>
          </a:prstGeom>
        </p:spPr>
      </p:pic>
      <p:pic>
        <p:nvPicPr>
          <p:cNvPr id="6" name="Kuva 5" descr="Kuva, joka sisältää kohteen symboli, Grafiikka, Fontti, logo&#10;&#10;Tekoälyn generoima sisältö voi olla virheellistä.">
            <a:extLst>
              <a:ext uri="{FF2B5EF4-FFF2-40B4-BE49-F238E27FC236}">
                <a16:creationId xmlns:a16="http://schemas.microsoft.com/office/drawing/2014/main" id="{556C8B14-74EE-0026-DB63-57530086F6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42435" y="1092726"/>
            <a:ext cx="2121610" cy="2136530"/>
          </a:xfrm>
          <a:prstGeom prst="rect">
            <a:avLst/>
          </a:prstGeom>
        </p:spPr>
      </p:pic>
      <p:sp>
        <p:nvSpPr>
          <p:cNvPr id="12" name="Otsikko 11">
            <a:extLst>
              <a:ext uri="{FF2B5EF4-FFF2-40B4-BE49-F238E27FC236}">
                <a16:creationId xmlns:a16="http://schemas.microsoft.com/office/drawing/2014/main" id="{12C41615-C901-6516-7373-8408766CBB0E}"/>
              </a:ext>
            </a:extLst>
          </p:cNvPr>
          <p:cNvSpPr>
            <a:spLocks noGrp="1"/>
          </p:cNvSpPr>
          <p:nvPr>
            <p:ph type="title"/>
          </p:nvPr>
        </p:nvSpPr>
        <p:spPr>
          <a:xfrm>
            <a:off x="2030185" y="215267"/>
            <a:ext cx="8741230" cy="584776"/>
          </a:xfrm>
        </p:spPr>
        <p:txBody>
          <a:bodyPr>
            <a:normAutofit fontScale="90000"/>
          </a:bodyPr>
          <a:lstStyle/>
          <a:p>
            <a:pPr algn="ctr"/>
            <a:r>
              <a:rPr lang="fi-FI" dirty="0">
                <a:solidFill>
                  <a:schemeClr val="tx1"/>
                </a:solidFill>
              </a:rPr>
              <a:t>Teemakorit</a:t>
            </a:r>
          </a:p>
        </p:txBody>
      </p:sp>
      <p:pic>
        <p:nvPicPr>
          <p:cNvPr id="13" name="Kuva 12" descr="Kuva, joka sisältää kohteen symboli, Grafiikka, kuvakaappaus, ympyrä&#10;&#10;Kuvaus luotu automaattisesti">
            <a:extLst>
              <a:ext uri="{FF2B5EF4-FFF2-40B4-BE49-F238E27FC236}">
                <a16:creationId xmlns:a16="http://schemas.microsoft.com/office/drawing/2014/main" id="{65E38E92-0F71-872F-59F6-0F58ED628D63}"/>
              </a:ext>
            </a:extLst>
          </p:cNvPr>
          <p:cNvPicPr/>
          <p:nvPr/>
        </p:nvPicPr>
        <p:blipFill>
          <a:blip r:embed="rId8">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spTree>
    <p:extLst>
      <p:ext uri="{BB962C8B-B14F-4D97-AF65-F5344CB8AC3E}">
        <p14:creationId xmlns:p14="http://schemas.microsoft.com/office/powerpoint/2010/main" val="3389477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descr="Kuva, joka sisältää kohteen henkilö, vaate, Ihmisen kasvot, taapero&#10;&#10;Tekoälyllä luotu sisältö voi olla virheellistä.">
            <a:extLst>
              <a:ext uri="{FF2B5EF4-FFF2-40B4-BE49-F238E27FC236}">
                <a16:creationId xmlns:a16="http://schemas.microsoft.com/office/drawing/2014/main" id="{45D45F84-25E2-B288-B2D3-B7AFA146DA89}"/>
              </a:ext>
            </a:extLst>
          </p:cNvPr>
          <p:cNvPicPr>
            <a:picLocks noChangeAspect="1"/>
          </p:cNvPicPr>
          <p:nvPr/>
        </p:nvPicPr>
        <p:blipFill>
          <a:blip r:embed="rId3">
            <a:extLst>
              <a:ext uri="{28A0092B-C50C-407E-A947-70E740481C1C}">
                <a14:useLocalDpi xmlns:a14="http://schemas.microsoft.com/office/drawing/2010/main" val="0"/>
              </a:ext>
            </a:extLst>
          </a:blip>
          <a:srcRect t="8813" r="5419" b="9453"/>
          <a:stretch>
            <a:fillRect/>
          </a:stretch>
        </p:blipFill>
        <p:spPr>
          <a:xfrm flipH="1">
            <a:off x="4" y="0"/>
            <a:ext cx="12191996" cy="7048500"/>
          </a:xfrm>
          <a:prstGeom prst="rect">
            <a:avLst/>
          </a:prstGeom>
        </p:spPr>
      </p:pic>
      <p:sp>
        <p:nvSpPr>
          <p:cNvPr id="4" name="Otsikko 1">
            <a:extLst>
              <a:ext uri="{FF2B5EF4-FFF2-40B4-BE49-F238E27FC236}">
                <a16:creationId xmlns:a16="http://schemas.microsoft.com/office/drawing/2014/main" id="{CAA695B7-FAE1-00C1-59BF-A589FF5CE39A}"/>
              </a:ext>
            </a:extLst>
          </p:cNvPr>
          <p:cNvSpPr txBox="1">
            <a:spLocks/>
          </p:cNvSpPr>
          <p:nvPr/>
        </p:nvSpPr>
        <p:spPr>
          <a:xfrm>
            <a:off x="2206282" y="1277371"/>
            <a:ext cx="3101282" cy="1866493"/>
          </a:xfrm>
          <a:prstGeom prst="rect">
            <a:avLst/>
          </a:prstGeom>
          <a:effectLst>
            <a:outerShdw blurRad="50800" dist="38100" dir="2700000" algn="tl" rotWithShape="0">
              <a:prstClr val="black">
                <a:alpha val="40000"/>
              </a:prstClr>
            </a:outerShdw>
          </a:effectLst>
        </p:spPr>
        <p:txBody>
          <a:bodyPr vert="horz" lIns="91440" tIns="45720" rIns="91440" bIns="45720" rtlCol="0" anchor="b">
            <a:normAutofit fontScale="90000" lnSpcReduction="20000"/>
          </a:bodyPr>
          <a:lstStyle>
            <a:lvl1pPr algn="l" defTabSz="914400" rtl="0" eaLnBrk="1" latinLnBrk="0" hangingPunct="1">
              <a:lnSpc>
                <a:spcPct val="90000"/>
              </a:lnSpc>
              <a:spcBef>
                <a:spcPct val="0"/>
              </a:spcBef>
              <a:buNone/>
              <a:defRPr lang="fi-FI" sz="4400" b="1" kern="1200">
                <a:solidFill>
                  <a:schemeClr val="bg1"/>
                </a:solidFill>
                <a:latin typeface="Arial" panose="020B0604020202020204" pitchFamily="34" charset="0"/>
                <a:ea typeface="+mj-ea"/>
                <a:cs typeface="Arial" panose="020B0604020202020204" pitchFamily="34" charset="0"/>
              </a:defRPr>
            </a:lvl1pPr>
          </a:lstStyle>
          <a:p>
            <a:endParaRPr lang="fi-FI" sz="16600"/>
          </a:p>
        </p:txBody>
      </p:sp>
      <p:sp>
        <p:nvSpPr>
          <p:cNvPr id="8" name="Title 7">
            <a:extLst>
              <a:ext uri="{FF2B5EF4-FFF2-40B4-BE49-F238E27FC236}">
                <a16:creationId xmlns:a16="http://schemas.microsoft.com/office/drawing/2014/main" id="{0D96DC06-F205-5D52-41CC-370B2084AB5A}"/>
              </a:ext>
            </a:extLst>
          </p:cNvPr>
          <p:cNvSpPr>
            <a:spLocks noGrp="1"/>
          </p:cNvSpPr>
          <p:nvPr>
            <p:ph type="title"/>
          </p:nvPr>
        </p:nvSpPr>
        <p:spPr>
          <a:xfrm>
            <a:off x="313681" y="505660"/>
            <a:ext cx="5909319" cy="2943727"/>
          </a:xfrm>
          <a:effectLst>
            <a:outerShdw blurRad="50800" dist="50800" dir="5400000" algn="ctr" rotWithShape="0">
              <a:schemeClr val="tx1"/>
            </a:outerShdw>
          </a:effectLst>
        </p:spPr>
        <p:txBody>
          <a:bodyPr>
            <a:noAutofit/>
          </a:bodyPr>
          <a:lstStyle/>
          <a:p>
            <a:pPr algn="ctr"/>
            <a:r>
              <a:rPr lang="fi-FI" sz="5400" dirty="0">
                <a:solidFill>
                  <a:schemeClr val="bg1"/>
                </a:solidFill>
              </a:rPr>
              <a:t>Kasvua, voimaa ja yhteyttä</a:t>
            </a:r>
          </a:p>
        </p:txBody>
      </p:sp>
      <p:sp>
        <p:nvSpPr>
          <p:cNvPr id="6" name="Sisällön paikkamerkki 2">
            <a:extLst>
              <a:ext uri="{FF2B5EF4-FFF2-40B4-BE49-F238E27FC236}">
                <a16:creationId xmlns:a16="http://schemas.microsoft.com/office/drawing/2014/main" id="{346CE842-5588-DADC-6E44-E41D91DDFB5A}"/>
              </a:ext>
            </a:extLst>
          </p:cNvPr>
          <p:cNvSpPr txBox="1">
            <a:spLocks/>
          </p:cNvSpPr>
          <p:nvPr/>
        </p:nvSpPr>
        <p:spPr>
          <a:xfrm>
            <a:off x="720928" y="3624764"/>
            <a:ext cx="4586636" cy="1620336"/>
          </a:xfrm>
          <a:prstGeom prst="rect">
            <a:avLst/>
          </a:prstGeom>
          <a:effectLst>
            <a:outerShdw blurRad="50800" dist="50800" dir="5400000" algn="ctr" rotWithShape="0">
              <a:schemeClr val="tx1"/>
            </a:outerShdw>
          </a:effectLst>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lumMod val="95000"/>
                  </a:schemeClr>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lnSpc>
                <a:spcPct val="100000"/>
              </a:lnSpc>
            </a:pPr>
            <a:r>
              <a:rPr lang="fi-FI" sz="2400" dirty="0"/>
              <a:t>Tuemme kristittyjen, seurakuntien ja kirkkojen kasvua tavoittavan työn ja evankelioinnin kautta.</a:t>
            </a:r>
          </a:p>
          <a:p>
            <a:pPr algn="ctr">
              <a:lnSpc>
                <a:spcPct val="100000"/>
              </a:lnSpc>
            </a:pPr>
            <a:endParaRPr lang="fi-FI" sz="3600" baseline="30000" dirty="0">
              <a:effectLst>
                <a:outerShdw blurRad="50800" dist="50800" dir="5400000" algn="ctr" rotWithShape="0">
                  <a:schemeClr val="tx1">
                    <a:alpha val="0"/>
                  </a:schemeClr>
                </a:outerShdw>
              </a:effectLst>
            </a:endParaRPr>
          </a:p>
        </p:txBody>
      </p:sp>
      <p:pic>
        <p:nvPicPr>
          <p:cNvPr id="10" name="Kuva 9" descr="Kuva, joka sisältää kohteen kuvakaappaus, teksti, Grafiikka, muotoilu&#10;&#10;Tekoälyllä luotu sisältö voi olla virheellistä.">
            <a:extLst>
              <a:ext uri="{FF2B5EF4-FFF2-40B4-BE49-F238E27FC236}">
                <a16:creationId xmlns:a16="http://schemas.microsoft.com/office/drawing/2014/main" id="{0A376B71-46A0-4A32-4353-0BCBF9AF3C26}"/>
              </a:ext>
            </a:extLst>
          </p:cNvPr>
          <p:cNvPicPr>
            <a:picLocks noChangeAspect="1"/>
          </p:cNvPicPr>
          <p:nvPr/>
        </p:nvPicPr>
        <p:blipFill>
          <a:blip r:embed="rId4">
            <a:extLst>
              <a:ext uri="{28A0092B-C50C-407E-A947-70E740481C1C}">
                <a14:useLocalDpi xmlns:a14="http://schemas.microsoft.com/office/drawing/2010/main" val="0"/>
              </a:ext>
            </a:extLst>
          </a:blip>
          <a:srcRect t="79540" r="7933"/>
          <a:stretch>
            <a:fillRect/>
          </a:stretch>
        </p:blipFill>
        <p:spPr>
          <a:xfrm>
            <a:off x="0" y="5245100"/>
            <a:ext cx="12192000" cy="1524000"/>
          </a:xfrm>
          <a:prstGeom prst="rect">
            <a:avLst/>
          </a:prstGeom>
        </p:spPr>
      </p:pic>
      <p:sp>
        <p:nvSpPr>
          <p:cNvPr id="11" name="Sisällön paikkamerkki 2">
            <a:extLst>
              <a:ext uri="{FF2B5EF4-FFF2-40B4-BE49-F238E27FC236}">
                <a16:creationId xmlns:a16="http://schemas.microsoft.com/office/drawing/2014/main" id="{D9B3A56A-9E51-74FD-44C1-38D311FE1EA4}"/>
              </a:ext>
            </a:extLst>
          </p:cNvPr>
          <p:cNvSpPr txBox="1">
            <a:spLocks/>
          </p:cNvSpPr>
          <p:nvPr/>
        </p:nvSpPr>
        <p:spPr>
          <a:xfrm>
            <a:off x="3632201" y="5930900"/>
            <a:ext cx="8242300" cy="526992"/>
          </a:xfrm>
          <a:prstGeom prst="rect">
            <a:avLst/>
          </a:prstGeom>
          <a:effectLst>
            <a:outerShdw blurRad="50800" dist="50800" dir="5400000" algn="ctr" rotWithShape="0">
              <a:schemeClr val="tx1">
                <a:alpha val="41000"/>
              </a:schemeClr>
            </a:outerShdw>
          </a:effectLst>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lumMod val="95000"/>
                  </a:schemeClr>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lnSpc>
                <a:spcPct val="100000"/>
              </a:lnSpc>
            </a:pPr>
            <a:r>
              <a:rPr lang="fi-FI" sz="3500" b="1" i="1" baseline="30000" dirty="0"/>
              <a:t>”</a:t>
            </a:r>
            <a:r>
              <a:rPr lang="fi-FI" sz="3200" b="1" i="1" baseline="30000" dirty="0"/>
              <a:t>Kannustakaa ja tukekaa siis toisianne.” </a:t>
            </a:r>
            <a:r>
              <a:rPr lang="fi-FI" sz="2600" baseline="30000" dirty="0"/>
              <a:t>1. </a:t>
            </a:r>
            <a:r>
              <a:rPr lang="fi-FI" sz="2600" baseline="30000" dirty="0" err="1"/>
              <a:t>Tess</a:t>
            </a:r>
            <a:r>
              <a:rPr lang="fi-FI" sz="2600" baseline="30000" dirty="0"/>
              <a:t>. 5:11</a:t>
            </a:r>
            <a:endParaRPr lang="fi-FI" sz="2600" baseline="30000" dirty="0">
              <a:effectLst>
                <a:outerShdw blurRad="50800" dist="50800" dir="5400000" algn="ctr" rotWithShape="0">
                  <a:schemeClr val="tx1">
                    <a:alpha val="0"/>
                  </a:schemeClr>
                </a:outerShdw>
              </a:effectLst>
            </a:endParaRPr>
          </a:p>
        </p:txBody>
      </p:sp>
    </p:spTree>
    <p:extLst>
      <p:ext uri="{BB962C8B-B14F-4D97-AF65-F5344CB8AC3E}">
        <p14:creationId xmlns:p14="http://schemas.microsoft.com/office/powerpoint/2010/main" val="2808405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05EDF-984B-0416-314F-2A3292AED336}"/>
            </a:ext>
          </a:extLst>
        </p:cNvPr>
        <p:cNvGrpSpPr/>
        <p:nvPr/>
      </p:nvGrpSpPr>
      <p:grpSpPr>
        <a:xfrm>
          <a:off x="0" y="0"/>
          <a:ext cx="0" cy="0"/>
          <a:chOff x="0" y="0"/>
          <a:chExt cx="0" cy="0"/>
        </a:xfrm>
      </p:grpSpPr>
      <p:sp>
        <p:nvSpPr>
          <p:cNvPr id="4" name="Otsikko 3">
            <a:extLst>
              <a:ext uri="{FF2B5EF4-FFF2-40B4-BE49-F238E27FC236}">
                <a16:creationId xmlns:a16="http://schemas.microsoft.com/office/drawing/2014/main" id="{651BD4B2-05CD-390C-FB18-C83DA117B4DB}"/>
              </a:ext>
            </a:extLst>
          </p:cNvPr>
          <p:cNvSpPr>
            <a:spLocks noGrp="1"/>
          </p:cNvSpPr>
          <p:nvPr>
            <p:ph type="title"/>
          </p:nvPr>
        </p:nvSpPr>
        <p:spPr>
          <a:xfrm>
            <a:off x="2037172" y="147017"/>
            <a:ext cx="8122828" cy="2106512"/>
          </a:xfrm>
        </p:spPr>
        <p:txBody>
          <a:bodyPr>
            <a:normAutofit/>
          </a:bodyPr>
          <a:lstStyle/>
          <a:p>
            <a:r>
              <a:rPr lang="fi-FI" dirty="0">
                <a:solidFill>
                  <a:schemeClr val="tx1"/>
                </a:solidFill>
              </a:rPr>
              <a:t>Vahvat ja vaikuttavat kirkot</a:t>
            </a:r>
          </a:p>
        </p:txBody>
      </p:sp>
      <p:sp>
        <p:nvSpPr>
          <p:cNvPr id="5" name="Sisällön paikkamerkki 4">
            <a:extLst>
              <a:ext uri="{FF2B5EF4-FFF2-40B4-BE49-F238E27FC236}">
                <a16:creationId xmlns:a16="http://schemas.microsoft.com/office/drawing/2014/main" id="{802034F2-8C05-3F87-E5CC-8F20CCDE3263}"/>
              </a:ext>
            </a:extLst>
          </p:cNvPr>
          <p:cNvSpPr>
            <a:spLocks noGrp="1"/>
          </p:cNvSpPr>
          <p:nvPr>
            <p:ph sz="half" idx="2"/>
          </p:nvPr>
        </p:nvSpPr>
        <p:spPr>
          <a:xfrm>
            <a:off x="2447718" y="2466490"/>
            <a:ext cx="6658182" cy="3680309"/>
          </a:xfrm>
        </p:spPr>
        <p:txBody>
          <a:bodyPr vert="horz" lIns="91440" tIns="45720" rIns="91440" bIns="45720" rtlCol="0" anchor="t">
            <a:normAutofit/>
          </a:bodyPr>
          <a:lstStyle/>
          <a:p>
            <a:pPr fontAlgn="base">
              <a:lnSpc>
                <a:spcPct val="110000"/>
              </a:lnSpc>
            </a:pPr>
            <a:r>
              <a:rPr lang="fi-FI" dirty="0"/>
              <a:t>Vahvistamme kirkon lähetystehtävää tukemalla kumppanikirkkojen kasvua, toimintaa ja kestävyyttä myös vaikeissa olosuhteissa, kuten uskonnonvapauden rajoitusten keskellä. </a:t>
            </a:r>
          </a:p>
          <a:p>
            <a:pPr fontAlgn="base">
              <a:lnSpc>
                <a:spcPct val="110000"/>
              </a:lnSpc>
            </a:pPr>
            <a:r>
              <a:rPr lang="fi-FI" dirty="0"/>
              <a:t>Painopiste on seurakunta- ja evankelioimistyössä, uusien seurakuntien perustamisessa sekä oikeudenmukaisemman yhteiskunnan edistämisessä. </a:t>
            </a:r>
          </a:p>
          <a:p>
            <a:pPr fontAlgn="base">
              <a:lnSpc>
                <a:spcPct val="110000"/>
              </a:lnSpc>
            </a:pPr>
            <a:r>
              <a:rPr lang="fi-FI" dirty="0"/>
              <a:t>Kristillinen kasvatus ja vapaaehtoistoiminta ovat keskeisessä roolissa, sillä ne mahdollistavat seurakuntien elinvoiman ja jatkuvuuden. </a:t>
            </a:r>
          </a:p>
        </p:txBody>
      </p:sp>
      <p:pic>
        <p:nvPicPr>
          <p:cNvPr id="6" name="Kuva 5" descr="Kuva, joka sisältää kohteen symboli, Grafiikka, kuvakaappaus, ympyrä&#10;&#10;Kuvaus luotu automaattisesti">
            <a:extLst>
              <a:ext uri="{FF2B5EF4-FFF2-40B4-BE49-F238E27FC236}">
                <a16:creationId xmlns:a16="http://schemas.microsoft.com/office/drawing/2014/main" id="{85989FE1-69F2-DD70-BE50-6BCBBD53A523}"/>
              </a:ext>
            </a:extLst>
          </p:cNvPr>
          <p:cNvPicPr/>
          <p:nvPr/>
        </p:nvPicPr>
        <p:blipFill>
          <a:blip r:embed="rId2">
            <a:extLst>
              <a:ext uri="{28A0092B-C50C-407E-A947-70E740481C1C}">
                <a14:useLocalDpi xmlns:a14="http://schemas.microsoft.com/office/drawing/2010/main" val="0"/>
              </a:ext>
            </a:extLst>
          </a:blip>
          <a:stretch>
            <a:fillRect/>
          </a:stretch>
        </p:blipFill>
        <p:spPr>
          <a:xfrm>
            <a:off x="10887807" y="5215537"/>
            <a:ext cx="968000" cy="1224147"/>
          </a:xfrm>
          <a:prstGeom prst="rect">
            <a:avLst/>
          </a:prstGeom>
        </p:spPr>
      </p:pic>
      <p:pic>
        <p:nvPicPr>
          <p:cNvPr id="2" name="Kuva 1" descr="Kuva, joka sisältää kohteen symboli, Grafiikka, Fontti, logo&#10;&#10;Tekoälyn generoima sisältö voi olla virheellistä.">
            <a:extLst>
              <a:ext uri="{FF2B5EF4-FFF2-40B4-BE49-F238E27FC236}">
                <a16:creationId xmlns:a16="http://schemas.microsoft.com/office/drawing/2014/main" id="{4D200C5D-039D-EE58-B248-A6DF78DB3CDD}"/>
              </a:ext>
            </a:extLst>
          </p:cNvPr>
          <p:cNvPicPr>
            <a:picLocks noChangeAspect="1"/>
          </p:cNvPicPr>
          <p:nvPr/>
        </p:nvPicPr>
        <p:blipFill>
          <a:blip r:embed="rId3">
            <a:extLst>
              <a:ext uri="{28A0092B-C50C-407E-A947-70E740481C1C}">
                <a14:useLocalDpi xmlns:a14="http://schemas.microsoft.com/office/drawing/2010/main" val="0"/>
              </a:ext>
            </a:extLst>
          </a:blip>
          <a:srcRect l="27644" t="53074" r="30024" b="8089"/>
          <a:stretch>
            <a:fillRect/>
          </a:stretch>
        </p:blipFill>
        <p:spPr>
          <a:xfrm>
            <a:off x="8928100" y="684903"/>
            <a:ext cx="2130641" cy="1968500"/>
          </a:xfrm>
          <a:prstGeom prst="rect">
            <a:avLst/>
          </a:prstGeom>
        </p:spPr>
      </p:pic>
    </p:spTree>
    <p:extLst>
      <p:ext uri="{BB962C8B-B14F-4D97-AF65-F5344CB8AC3E}">
        <p14:creationId xmlns:p14="http://schemas.microsoft.com/office/powerpoint/2010/main" val="3695095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orakulmio 7">
            <a:extLst>
              <a:ext uri="{FF2B5EF4-FFF2-40B4-BE49-F238E27FC236}">
                <a16:creationId xmlns:a16="http://schemas.microsoft.com/office/drawing/2014/main" id="{4B6FE523-6EAB-DA3A-C6FF-38F2AE7687F3}"/>
              </a:ext>
            </a:extLst>
          </p:cNvPr>
          <p:cNvSpPr/>
          <p:nvPr/>
        </p:nvSpPr>
        <p:spPr>
          <a:xfrm>
            <a:off x="0" y="-101600"/>
            <a:ext cx="2717800" cy="695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 name="Suorakulmio 16">
            <a:extLst>
              <a:ext uri="{FF2B5EF4-FFF2-40B4-BE49-F238E27FC236}">
                <a16:creationId xmlns:a16="http://schemas.microsoft.com/office/drawing/2014/main" id="{5B4048EB-BB41-C618-7E8D-A0D75A2953A1}"/>
              </a:ext>
            </a:extLst>
          </p:cNvPr>
          <p:cNvSpPr/>
          <p:nvPr/>
        </p:nvSpPr>
        <p:spPr>
          <a:xfrm>
            <a:off x="0" y="-101600"/>
            <a:ext cx="12192000" cy="6959600"/>
          </a:xfrm>
          <a:prstGeom prst="rect">
            <a:avLst/>
          </a:prstGeom>
          <a:solidFill>
            <a:srgbClr val="D4EFF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6" name="Kuva 5">
            <a:extLst>
              <a:ext uri="{FF2B5EF4-FFF2-40B4-BE49-F238E27FC236}">
                <a16:creationId xmlns:a16="http://schemas.microsoft.com/office/drawing/2014/main" id="{283486AB-A7C8-F4FF-CD93-7D4C3477210A}"/>
              </a:ext>
            </a:extLst>
          </p:cNvPr>
          <p:cNvPicPr>
            <a:picLocks noChangeAspect="1"/>
          </p:cNvPicPr>
          <p:nvPr/>
        </p:nvPicPr>
        <p:blipFill>
          <a:blip r:embed="rId3">
            <a:extLst>
              <a:ext uri="{28A0092B-C50C-407E-A947-70E740481C1C}">
                <a14:useLocalDpi xmlns:a14="http://schemas.microsoft.com/office/drawing/2010/main" val="0"/>
              </a:ext>
            </a:extLst>
          </a:blip>
          <a:srcRect t="12051" b="12051"/>
          <a:stretch/>
        </p:blipFill>
        <p:spPr>
          <a:xfrm>
            <a:off x="-628649" y="-101600"/>
            <a:ext cx="13257128" cy="7112000"/>
          </a:xfrm>
          <a:prstGeom prst="rect">
            <a:avLst/>
          </a:prstGeom>
          <a:effectLst>
            <a:outerShdw blurRad="114300" dist="38100" dir="5400000" algn="ctr" rotWithShape="0">
              <a:schemeClr val="tx1">
                <a:alpha val="30000"/>
              </a:schemeClr>
            </a:outerShdw>
          </a:effectLst>
        </p:spPr>
      </p:pic>
      <p:pic>
        <p:nvPicPr>
          <p:cNvPr id="2" name="Kuva 1" descr="Kuva, joka sisältää kohteen symboli, Grafiikka, kuvakaappaus, ympyrä&#10;&#10;Kuvaus luotu automaattisesti">
            <a:extLst>
              <a:ext uri="{FF2B5EF4-FFF2-40B4-BE49-F238E27FC236}">
                <a16:creationId xmlns:a16="http://schemas.microsoft.com/office/drawing/2014/main" id="{656E314A-AB3B-707A-10EF-EE73FDD2EC50}"/>
              </a:ext>
            </a:extLst>
          </p:cNvPr>
          <p:cNvPicPr/>
          <p:nvPr/>
        </p:nvPicPr>
        <p:blipFill>
          <a:blip r:embed="rId4">
            <a:extLst>
              <a:ext uri="{28A0092B-C50C-407E-A947-70E740481C1C}">
                <a14:useLocalDpi xmlns:a14="http://schemas.microsoft.com/office/drawing/2010/main" val="0"/>
              </a:ext>
            </a:extLst>
          </a:blip>
          <a:stretch>
            <a:fillRect/>
          </a:stretch>
        </p:blipFill>
        <p:spPr>
          <a:xfrm>
            <a:off x="10887807" y="428736"/>
            <a:ext cx="968000" cy="1224147"/>
          </a:xfrm>
          <a:prstGeom prst="rect">
            <a:avLst/>
          </a:prstGeom>
        </p:spPr>
      </p:pic>
      <p:sp>
        <p:nvSpPr>
          <p:cNvPr id="12" name="Suorakulmio 11">
            <a:extLst>
              <a:ext uri="{FF2B5EF4-FFF2-40B4-BE49-F238E27FC236}">
                <a16:creationId xmlns:a16="http://schemas.microsoft.com/office/drawing/2014/main" id="{7EAC9BB7-6415-C8B3-6F0F-5200025DC42F}"/>
              </a:ext>
            </a:extLst>
          </p:cNvPr>
          <p:cNvSpPr/>
          <p:nvPr/>
        </p:nvSpPr>
        <p:spPr>
          <a:xfrm>
            <a:off x="484991" y="5710454"/>
            <a:ext cx="284183" cy="284183"/>
          </a:xfrm>
          <a:prstGeom prst="rect">
            <a:avLst/>
          </a:prstGeom>
          <a:solidFill>
            <a:srgbClr val="EAD6D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Suorakulmio 12">
            <a:extLst>
              <a:ext uri="{FF2B5EF4-FFF2-40B4-BE49-F238E27FC236}">
                <a16:creationId xmlns:a16="http://schemas.microsoft.com/office/drawing/2014/main" id="{CC59EA34-6EAD-4936-A70C-D81E7C9F54E8}"/>
              </a:ext>
            </a:extLst>
          </p:cNvPr>
          <p:cNvSpPr/>
          <p:nvPr/>
        </p:nvSpPr>
        <p:spPr>
          <a:xfrm>
            <a:off x="484991" y="5245485"/>
            <a:ext cx="284183" cy="284183"/>
          </a:xfrm>
          <a:prstGeom prst="rect">
            <a:avLst/>
          </a:prstGeom>
          <a:solidFill>
            <a:srgbClr val="F53246"/>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 name="Tekstiruutu 14">
            <a:extLst>
              <a:ext uri="{FF2B5EF4-FFF2-40B4-BE49-F238E27FC236}">
                <a16:creationId xmlns:a16="http://schemas.microsoft.com/office/drawing/2014/main" id="{E7E7424C-D2F8-0710-26AF-8FC2893FA4B9}"/>
              </a:ext>
            </a:extLst>
          </p:cNvPr>
          <p:cNvSpPr txBox="1"/>
          <p:nvPr/>
        </p:nvSpPr>
        <p:spPr>
          <a:xfrm>
            <a:off x="784224" y="5245484"/>
            <a:ext cx="1421767" cy="307777"/>
          </a:xfrm>
          <a:prstGeom prst="rect">
            <a:avLst/>
          </a:prstGeom>
          <a:noFill/>
        </p:spPr>
        <p:txBody>
          <a:bodyPr wrap="square">
            <a:spAutoFit/>
          </a:bodyPr>
          <a:lstStyle/>
          <a:p>
            <a:r>
              <a:rPr lang="fi-FI" sz="1400" dirty="0"/>
              <a:t>Työalue</a:t>
            </a:r>
          </a:p>
        </p:txBody>
      </p:sp>
      <p:sp>
        <p:nvSpPr>
          <p:cNvPr id="16" name="Tekstiruutu 15">
            <a:extLst>
              <a:ext uri="{FF2B5EF4-FFF2-40B4-BE49-F238E27FC236}">
                <a16:creationId xmlns:a16="http://schemas.microsoft.com/office/drawing/2014/main" id="{51CFECF7-2CB8-0046-9A82-6474A18DB42A}"/>
              </a:ext>
            </a:extLst>
          </p:cNvPr>
          <p:cNvSpPr txBox="1"/>
          <p:nvPr/>
        </p:nvSpPr>
        <p:spPr>
          <a:xfrm>
            <a:off x="817432" y="5729504"/>
            <a:ext cx="1862268" cy="307777"/>
          </a:xfrm>
          <a:prstGeom prst="rect">
            <a:avLst/>
          </a:prstGeom>
          <a:noFill/>
        </p:spPr>
        <p:txBody>
          <a:bodyPr wrap="square">
            <a:spAutoFit/>
          </a:bodyPr>
          <a:lstStyle/>
          <a:p>
            <a:r>
              <a:rPr lang="fi-FI" sz="1400" dirty="0"/>
              <a:t>Muu yhteistyö</a:t>
            </a:r>
          </a:p>
        </p:txBody>
      </p:sp>
    </p:spTree>
    <p:extLst>
      <p:ext uri="{BB962C8B-B14F-4D97-AF65-F5344CB8AC3E}">
        <p14:creationId xmlns:p14="http://schemas.microsoft.com/office/powerpoint/2010/main" val="2150706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ut 1">
      <a:dk1>
        <a:srgbClr val="0C0C0C"/>
      </a:dk1>
      <a:lt1>
        <a:srgbClr val="FFFFFF"/>
      </a:lt1>
      <a:dk2>
        <a:srgbClr val="F53246"/>
      </a:dk2>
      <a:lt2>
        <a:srgbClr val="E7E6E6"/>
      </a:lt2>
      <a:accent1>
        <a:srgbClr val="F53246"/>
      </a:accent1>
      <a:accent2>
        <a:srgbClr val="90397B"/>
      </a:accent2>
      <a:accent3>
        <a:srgbClr val="1179A6"/>
      </a:accent3>
      <a:accent4>
        <a:srgbClr val="93CB81"/>
      </a:accent4>
      <a:accent5>
        <a:srgbClr val="F3DF0E"/>
      </a:accent5>
      <a:accent6>
        <a:srgbClr val="FBAFB6"/>
      </a:accent6>
      <a:hlink>
        <a:srgbClr val="0C5272"/>
      </a:hlink>
      <a:folHlink>
        <a:srgbClr val="FBAFB6"/>
      </a:folHlink>
    </a:clrScheme>
    <a:fontScheme name="Mukautettu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ähetysseura_16-9_FIN_pohja (2).pptx" id="{50E836D4-9807-4953-9181-4559616194B0}" vid="{ECC2E6CA-AF7A-4740-90BD-D6A2E8B06D83}"/>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ba8b525-faa7-450e-87ad-219cde38671f" xsi:nil="true"/>
    <lcf76f155ced4ddcb4097134ff3c332f xmlns="36c43c7b-f203-4255-9c01-fbfa8f435691">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Asiakirja" ma:contentTypeID="0x010100E5DC34CE36E89F4B92BFA9B82D23A070" ma:contentTypeVersion="19" ma:contentTypeDescription="Luo uusi asiakirja." ma:contentTypeScope="" ma:versionID="446cb3357e149107bc5d0e800fde2ba3">
  <xsd:schema xmlns:xsd="http://www.w3.org/2001/XMLSchema" xmlns:xs="http://www.w3.org/2001/XMLSchema" xmlns:p="http://schemas.microsoft.com/office/2006/metadata/properties" xmlns:ns2="36c43c7b-f203-4255-9c01-fbfa8f435691" xmlns:ns3="cba8b525-faa7-450e-87ad-219cde38671f" targetNamespace="http://schemas.microsoft.com/office/2006/metadata/properties" ma:root="true" ma:fieldsID="5ecfc37b313d64893dcfa361c74be07e" ns2:_="" ns3:_="">
    <xsd:import namespace="36c43c7b-f203-4255-9c01-fbfa8f435691"/>
    <xsd:import namespace="cba8b525-faa7-450e-87ad-219cde38671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c43c7b-f203-4255-9c01-fbfa8f4356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Kuvien tunnisteet" ma:readOnly="false" ma:fieldId="{5cf76f15-5ced-4ddc-b409-7134ff3c332f}" ma:taxonomyMulti="true" ma:sspId="bc5903eb-f726-48b2-a5e1-0557bb19de1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a8b525-faa7-450e-87ad-219cde38671f" elementFormDefault="qualified">
    <xsd:import namespace="http://schemas.microsoft.com/office/2006/documentManagement/types"/>
    <xsd:import namespace="http://schemas.microsoft.com/office/infopath/2007/PartnerControls"/>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Jakamisen tiedot" ma:internalName="SharedWithDetails" ma:readOnly="true">
      <xsd:simpleType>
        <xsd:restriction base="dms:Note">
          <xsd:maxLength value="255"/>
        </xsd:restriction>
      </xsd:simpleType>
    </xsd:element>
    <xsd:element name="TaxCatchAll" ma:index="23" nillable="true" ma:displayName="Taxonomy Catch All Column" ma:hidden="true" ma:list="{ee7f9ea9-f2b8-4c26-b77f-ec1180490373}" ma:internalName="TaxCatchAll" ma:showField="CatchAllData" ma:web="cba8b525-faa7-450e-87ad-219cde3867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A6B8EA-6046-4BEE-BF32-C50AAA54649D}">
  <ds:schemaRefs>
    <ds:schemaRef ds:uri="2c92d715-d8ce-4fc2-8bad-0f61043d6bee"/>
    <ds:schemaRef ds:uri="7fb4b996-e86c-4757-b273-81a7b24158f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cba8b525-faa7-450e-87ad-219cde38671f"/>
    <ds:schemaRef ds:uri="36c43c7b-f203-4255-9c01-fbfa8f435691"/>
  </ds:schemaRefs>
</ds:datastoreItem>
</file>

<file path=customXml/itemProps2.xml><?xml version="1.0" encoding="utf-8"?>
<ds:datastoreItem xmlns:ds="http://schemas.openxmlformats.org/officeDocument/2006/customXml" ds:itemID="{0E6BE337-475B-40C6-A082-B88657F9A521}">
  <ds:schemaRefs>
    <ds:schemaRef ds:uri="http://schemas.microsoft.com/sharepoint/v3/contenttype/forms"/>
  </ds:schemaRefs>
</ds:datastoreItem>
</file>

<file path=customXml/itemProps3.xml><?xml version="1.0" encoding="utf-8"?>
<ds:datastoreItem xmlns:ds="http://schemas.openxmlformats.org/officeDocument/2006/customXml" ds:itemID="{65466FE5-4CBD-426F-B211-C815185845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c43c7b-f203-4255-9c01-fbfa8f435691"/>
    <ds:schemaRef ds:uri="cba8b525-faa7-450e-87ad-219cde3867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ähetysseura_16-9_FIN_pohja</Template>
  <TotalTime>6334</TotalTime>
  <Words>1098</Words>
  <Application>Microsoft Office PowerPoint</Application>
  <PresentationFormat>Laajakuva</PresentationFormat>
  <Paragraphs>103</Paragraphs>
  <Slides>16</Slides>
  <Notes>7</Notes>
  <HiddenSlides>0</HiddenSlides>
  <MMClips>0</MMClips>
  <ScaleCrop>false</ScaleCrop>
  <HeadingPairs>
    <vt:vector size="8" baseType="variant">
      <vt:variant>
        <vt:lpstr>Käytetyt fontit</vt:lpstr>
      </vt:variant>
      <vt:variant>
        <vt:i4>4</vt:i4>
      </vt:variant>
      <vt:variant>
        <vt:lpstr>Teema</vt:lpstr>
      </vt:variant>
      <vt:variant>
        <vt:i4>1</vt:i4>
      </vt:variant>
      <vt:variant>
        <vt:lpstr>Upotetut OLE-palvelimet</vt:lpstr>
      </vt:variant>
      <vt:variant>
        <vt:i4>1</vt:i4>
      </vt:variant>
      <vt:variant>
        <vt:lpstr>Dian otsikot</vt:lpstr>
      </vt:variant>
      <vt:variant>
        <vt:i4>16</vt:i4>
      </vt:variant>
    </vt:vector>
  </HeadingPairs>
  <TitlesOfParts>
    <vt:vector size="22" baseType="lpstr">
      <vt:lpstr>Arial</vt:lpstr>
      <vt:lpstr>Arial Black</vt:lpstr>
      <vt:lpstr>Calibri</vt:lpstr>
      <vt:lpstr>Microsoft Sans Serif</vt:lpstr>
      <vt:lpstr>Office-teema</vt:lpstr>
      <vt:lpstr>think-cell Slide</vt:lpstr>
      <vt:lpstr>Vahvat ja vaikuttavat kirkot</vt:lpstr>
      <vt:lpstr>Lähetysseura on kirkon lähetysjärjestö ja yksi Suomen suurimmista kehitysjärjestöistä</vt:lpstr>
      <vt:lpstr>16</vt:lpstr>
      <vt:lpstr>PowerPoint-esitys</vt:lpstr>
      <vt:lpstr>Mikä on teemakori?</vt:lpstr>
      <vt:lpstr>Teemakorit</vt:lpstr>
      <vt:lpstr>Kasvua, voimaa ja yhteyttä</vt:lpstr>
      <vt:lpstr>Vahvat ja vaikuttavat kirkot</vt:lpstr>
      <vt:lpstr>PowerPoint-esitys</vt:lpstr>
      <vt:lpstr>PowerPoint-esitys</vt:lpstr>
      <vt:lpstr>PowerPoint-esitys</vt:lpstr>
      <vt:lpstr>Teologinen linjaus</vt:lpstr>
      <vt:lpstr>PowerPoint-esitys</vt:lpstr>
      <vt:lpstr>Rukous</vt:lpstr>
      <vt:lpstr>PowerPoint-esitys</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Ylhävuori Tarmo</dc:creator>
  <cp:lastModifiedBy>Juntunen Linda</cp:lastModifiedBy>
  <cp:revision>35</cp:revision>
  <dcterms:created xsi:type="dcterms:W3CDTF">2022-08-23T09:26:18Z</dcterms:created>
  <dcterms:modified xsi:type="dcterms:W3CDTF">2026-01-26T10:1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E5DC34CE36E89F4B92BFA9B82D23A070</vt:lpwstr>
  </property>
</Properties>
</file>